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Lst>
  <p:notesMasterIdLst>
    <p:notesMasterId r:id="rId44"/>
  </p:notesMasterIdLst>
  <p:sldIdLst>
    <p:sldId id="256" r:id="rId3"/>
    <p:sldId id="272" r:id="rId4"/>
    <p:sldId id="273" r:id="rId5"/>
    <p:sldId id="274" r:id="rId6"/>
    <p:sldId id="275" r:id="rId7"/>
    <p:sldId id="276" r:id="rId8"/>
    <p:sldId id="257" r:id="rId9"/>
    <p:sldId id="263" r:id="rId10"/>
    <p:sldId id="258" r:id="rId11"/>
    <p:sldId id="264" r:id="rId12"/>
    <p:sldId id="259" r:id="rId13"/>
    <p:sldId id="260" r:id="rId14"/>
    <p:sldId id="261" r:id="rId15"/>
    <p:sldId id="268" r:id="rId16"/>
    <p:sldId id="265" r:id="rId17"/>
    <p:sldId id="262" r:id="rId18"/>
    <p:sldId id="266" r:id="rId19"/>
    <p:sldId id="269" r:id="rId20"/>
    <p:sldId id="267" r:id="rId21"/>
    <p:sldId id="270" r:id="rId22"/>
    <p:sldId id="271" r:id="rId23"/>
    <p:sldId id="278" r:id="rId24"/>
    <p:sldId id="8545" r:id="rId25"/>
    <p:sldId id="8546" r:id="rId26"/>
    <p:sldId id="279" r:id="rId27"/>
    <p:sldId id="280" r:id="rId28"/>
    <p:sldId id="1821" r:id="rId29"/>
    <p:sldId id="8304" r:id="rId30"/>
    <p:sldId id="3294" r:id="rId31"/>
    <p:sldId id="3365" r:id="rId32"/>
    <p:sldId id="277" r:id="rId33"/>
    <p:sldId id="281" r:id="rId34"/>
    <p:sldId id="8548" r:id="rId35"/>
    <p:sldId id="8305" r:id="rId36"/>
    <p:sldId id="8301" r:id="rId37"/>
    <p:sldId id="8544" r:id="rId38"/>
    <p:sldId id="8518" r:id="rId39"/>
    <p:sldId id="3746" r:id="rId40"/>
    <p:sldId id="3448" r:id="rId41"/>
    <p:sldId id="1823" r:id="rId42"/>
    <p:sldId id="9949"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neet Singh Solanki" initials="PSS" lastIdx="6" clrIdx="0">
    <p:extLst>
      <p:ext uri="{19B8F6BF-5375-455C-9EA6-DF929625EA0E}">
        <p15:presenceInfo xmlns:p15="http://schemas.microsoft.com/office/powerpoint/2012/main" userId="S::prsol@microsoft.com::019d485c-1675-4ea4-b8a1-a6792b5862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9EF993-394A-4AF1-B5E5-13391B9CD323}" v="182" dt="2019-03-11T18:53:31.4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14" autoAdjust="0"/>
    <p:restoredTop sz="94660"/>
  </p:normalViewPr>
  <p:slideViewPr>
    <p:cSldViewPr snapToGrid="0">
      <p:cViewPr>
        <p:scale>
          <a:sx n="132" d="100"/>
          <a:sy n="132" d="100"/>
        </p:scale>
        <p:origin x="64" y="5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heme" Target="theme/theme1.xml"/><Relationship Id="rId8" Type="http://schemas.openxmlformats.org/officeDocument/2006/relationships/slide" Target="slides/slide6.xml"/><Relationship Id="rId5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lbert Murphy" userId="7a71e747-b122-47ea-b426-44ce2319c6d9" providerId="ADAL" clId="{B59EF993-394A-4AF1-B5E5-13391B9CD323}"/>
    <pc:docChg chg="undo custSel addSld delSld modSld sldOrd">
      <pc:chgData name="Delbert Murphy" userId="7a71e747-b122-47ea-b426-44ce2319c6d9" providerId="ADAL" clId="{B59EF993-394A-4AF1-B5E5-13391B9CD323}" dt="2019-03-11T18:53:31.419" v="9709"/>
      <pc:docMkLst>
        <pc:docMk/>
      </pc:docMkLst>
      <pc:sldChg chg="delSp modSp add">
        <pc:chgData name="Delbert Murphy" userId="7a71e747-b122-47ea-b426-44ce2319c6d9" providerId="ADAL" clId="{B59EF993-394A-4AF1-B5E5-13391B9CD323}" dt="2019-02-22T19:14:53.860" v="937" actId="20577"/>
        <pc:sldMkLst>
          <pc:docMk/>
          <pc:sldMk cId="2600991724" sldId="256"/>
        </pc:sldMkLst>
        <pc:spChg chg="mod">
          <ac:chgData name="Delbert Murphy" userId="7a71e747-b122-47ea-b426-44ce2319c6d9" providerId="ADAL" clId="{B59EF993-394A-4AF1-B5E5-13391B9CD323}" dt="2019-02-22T19:14:53.860" v="937" actId="20577"/>
          <ac:spMkLst>
            <pc:docMk/>
            <pc:sldMk cId="2600991724" sldId="256"/>
            <ac:spMk id="2" creationId="{49ECD726-51A3-42AA-86A6-BB33AB865991}"/>
          </ac:spMkLst>
        </pc:spChg>
        <pc:spChg chg="del">
          <ac:chgData name="Delbert Murphy" userId="7a71e747-b122-47ea-b426-44ce2319c6d9" providerId="ADAL" clId="{B59EF993-394A-4AF1-B5E5-13391B9CD323}" dt="2019-02-22T14:55:34.802" v="28" actId="478"/>
          <ac:spMkLst>
            <pc:docMk/>
            <pc:sldMk cId="2600991724" sldId="256"/>
            <ac:spMk id="3" creationId="{93CC093B-7D14-4342-B348-EC92FA8D67D9}"/>
          </ac:spMkLst>
        </pc:spChg>
      </pc:sldChg>
      <pc:sldChg chg="modSp add">
        <pc:chgData name="Delbert Murphy" userId="7a71e747-b122-47ea-b426-44ce2319c6d9" providerId="ADAL" clId="{B59EF993-394A-4AF1-B5E5-13391B9CD323}" dt="2019-03-11T18:08:05.021" v="9085" actId="403"/>
        <pc:sldMkLst>
          <pc:docMk/>
          <pc:sldMk cId="596701395" sldId="257"/>
        </pc:sldMkLst>
        <pc:spChg chg="mod">
          <ac:chgData name="Delbert Murphy" userId="7a71e747-b122-47ea-b426-44ce2319c6d9" providerId="ADAL" clId="{B59EF993-394A-4AF1-B5E5-13391B9CD323}" dt="2019-03-11T18:07:56.540" v="9084" actId="20577"/>
          <ac:spMkLst>
            <pc:docMk/>
            <pc:sldMk cId="596701395" sldId="257"/>
            <ac:spMk id="2" creationId="{309A6768-C60C-4ACA-A57E-01378D5562EF}"/>
          </ac:spMkLst>
        </pc:spChg>
        <pc:spChg chg="mod">
          <ac:chgData name="Delbert Murphy" userId="7a71e747-b122-47ea-b426-44ce2319c6d9" providerId="ADAL" clId="{B59EF993-394A-4AF1-B5E5-13391B9CD323}" dt="2019-03-11T18:08:05.021" v="9085" actId="403"/>
          <ac:spMkLst>
            <pc:docMk/>
            <pc:sldMk cId="596701395" sldId="257"/>
            <ac:spMk id="3" creationId="{5E2FB856-35C8-480E-982D-D81440BCF5F9}"/>
          </ac:spMkLst>
        </pc:spChg>
      </pc:sldChg>
      <pc:sldChg chg="modSp add">
        <pc:chgData name="Delbert Murphy" userId="7a71e747-b122-47ea-b426-44ce2319c6d9" providerId="ADAL" clId="{B59EF993-394A-4AF1-B5E5-13391B9CD323}" dt="2019-03-11T18:43:57.693" v="9706" actId="14100"/>
        <pc:sldMkLst>
          <pc:docMk/>
          <pc:sldMk cId="2694685938" sldId="258"/>
        </pc:sldMkLst>
        <pc:spChg chg="mod">
          <ac:chgData name="Delbert Murphy" userId="7a71e747-b122-47ea-b426-44ce2319c6d9" providerId="ADAL" clId="{B59EF993-394A-4AF1-B5E5-13391B9CD323}" dt="2019-03-11T18:43:52.273" v="9705" actId="27636"/>
          <ac:spMkLst>
            <pc:docMk/>
            <pc:sldMk cId="2694685938" sldId="258"/>
            <ac:spMk id="2" creationId="{D81EBB12-A87F-46AE-AB17-711C331FE583}"/>
          </ac:spMkLst>
        </pc:spChg>
        <pc:spChg chg="mod">
          <ac:chgData name="Delbert Murphy" userId="7a71e747-b122-47ea-b426-44ce2319c6d9" providerId="ADAL" clId="{B59EF993-394A-4AF1-B5E5-13391B9CD323}" dt="2019-03-11T18:43:57.693" v="9706" actId="14100"/>
          <ac:spMkLst>
            <pc:docMk/>
            <pc:sldMk cId="2694685938" sldId="258"/>
            <ac:spMk id="3" creationId="{7C2D8A43-0ABB-42EA-9106-E0B98AB0864B}"/>
          </ac:spMkLst>
        </pc:spChg>
      </pc:sldChg>
      <pc:sldChg chg="modSp add">
        <pc:chgData name="Delbert Murphy" userId="7a71e747-b122-47ea-b426-44ce2319c6d9" providerId="ADAL" clId="{B59EF993-394A-4AF1-B5E5-13391B9CD323}" dt="2019-03-11T18:10:56.874" v="9096" actId="20577"/>
        <pc:sldMkLst>
          <pc:docMk/>
          <pc:sldMk cId="590992020" sldId="259"/>
        </pc:sldMkLst>
        <pc:spChg chg="mod">
          <ac:chgData name="Delbert Murphy" userId="7a71e747-b122-47ea-b426-44ce2319c6d9" providerId="ADAL" clId="{B59EF993-394A-4AF1-B5E5-13391B9CD323}" dt="2019-02-22T19:09:51.526" v="657" actId="20577"/>
          <ac:spMkLst>
            <pc:docMk/>
            <pc:sldMk cId="590992020" sldId="259"/>
            <ac:spMk id="2" creationId="{B3B426FC-E3C7-40F7-B547-694A0FA3B4DD}"/>
          </ac:spMkLst>
        </pc:spChg>
        <pc:spChg chg="mod">
          <ac:chgData name="Delbert Murphy" userId="7a71e747-b122-47ea-b426-44ce2319c6d9" providerId="ADAL" clId="{B59EF993-394A-4AF1-B5E5-13391B9CD323}" dt="2019-03-11T18:10:56.874" v="9096" actId="20577"/>
          <ac:spMkLst>
            <pc:docMk/>
            <pc:sldMk cId="590992020" sldId="259"/>
            <ac:spMk id="3" creationId="{EF15ECAB-3969-4B8A-AE02-7E0DDED390EC}"/>
          </ac:spMkLst>
        </pc:spChg>
      </pc:sldChg>
      <pc:sldChg chg="modSp add">
        <pc:chgData name="Delbert Murphy" userId="7a71e747-b122-47ea-b426-44ce2319c6d9" providerId="ADAL" clId="{B59EF993-394A-4AF1-B5E5-13391B9CD323}" dt="2019-03-11T16:50:05.871" v="7275" actId="27636"/>
        <pc:sldMkLst>
          <pc:docMk/>
          <pc:sldMk cId="661832284" sldId="260"/>
        </pc:sldMkLst>
        <pc:spChg chg="mod">
          <ac:chgData name="Delbert Murphy" userId="7a71e747-b122-47ea-b426-44ce2319c6d9" providerId="ADAL" clId="{B59EF993-394A-4AF1-B5E5-13391B9CD323}" dt="2019-03-06T16:21:49.706" v="6001" actId="20577"/>
          <ac:spMkLst>
            <pc:docMk/>
            <pc:sldMk cId="661832284" sldId="260"/>
            <ac:spMk id="2" creationId="{B3B426FC-E3C7-40F7-B547-694A0FA3B4DD}"/>
          </ac:spMkLst>
        </pc:spChg>
        <pc:spChg chg="mod">
          <ac:chgData name="Delbert Murphy" userId="7a71e747-b122-47ea-b426-44ce2319c6d9" providerId="ADAL" clId="{B59EF993-394A-4AF1-B5E5-13391B9CD323}" dt="2019-03-11T16:50:05.871" v="7275" actId="27636"/>
          <ac:spMkLst>
            <pc:docMk/>
            <pc:sldMk cId="661832284" sldId="260"/>
            <ac:spMk id="3" creationId="{EF15ECAB-3969-4B8A-AE02-7E0DDED390EC}"/>
          </ac:spMkLst>
        </pc:spChg>
      </pc:sldChg>
      <pc:sldChg chg="modSp add">
        <pc:chgData name="Delbert Murphy" userId="7a71e747-b122-47ea-b426-44ce2319c6d9" providerId="ADAL" clId="{B59EF993-394A-4AF1-B5E5-13391B9CD323}" dt="2019-03-11T18:13:39.825" v="9201" actId="14100"/>
        <pc:sldMkLst>
          <pc:docMk/>
          <pc:sldMk cId="2304543973" sldId="261"/>
        </pc:sldMkLst>
        <pc:spChg chg="mod">
          <ac:chgData name="Delbert Murphy" userId="7a71e747-b122-47ea-b426-44ce2319c6d9" providerId="ADAL" clId="{B59EF993-394A-4AF1-B5E5-13391B9CD323}" dt="2019-02-22T19:10:41.436" v="714" actId="20577"/>
          <ac:spMkLst>
            <pc:docMk/>
            <pc:sldMk cId="2304543973" sldId="261"/>
            <ac:spMk id="2" creationId="{B3B426FC-E3C7-40F7-B547-694A0FA3B4DD}"/>
          </ac:spMkLst>
        </pc:spChg>
        <pc:spChg chg="mod">
          <ac:chgData name="Delbert Murphy" userId="7a71e747-b122-47ea-b426-44ce2319c6d9" providerId="ADAL" clId="{B59EF993-394A-4AF1-B5E5-13391B9CD323}" dt="2019-03-11T18:13:39.825" v="9201" actId="14100"/>
          <ac:spMkLst>
            <pc:docMk/>
            <pc:sldMk cId="2304543973" sldId="261"/>
            <ac:spMk id="3" creationId="{EF15ECAB-3969-4B8A-AE02-7E0DDED390EC}"/>
          </ac:spMkLst>
        </pc:spChg>
      </pc:sldChg>
      <pc:sldChg chg="modSp add">
        <pc:chgData name="Delbert Murphy" userId="7a71e747-b122-47ea-b426-44ce2319c6d9" providerId="ADAL" clId="{B59EF993-394A-4AF1-B5E5-13391B9CD323}" dt="2019-03-11T17:00:06.115" v="7865" actId="20577"/>
        <pc:sldMkLst>
          <pc:docMk/>
          <pc:sldMk cId="3157140024" sldId="262"/>
        </pc:sldMkLst>
        <pc:spChg chg="mod">
          <ac:chgData name="Delbert Murphy" userId="7a71e747-b122-47ea-b426-44ce2319c6d9" providerId="ADAL" clId="{B59EF993-394A-4AF1-B5E5-13391B9CD323}" dt="2019-02-22T19:11:04.725" v="735" actId="20577"/>
          <ac:spMkLst>
            <pc:docMk/>
            <pc:sldMk cId="3157140024" sldId="262"/>
            <ac:spMk id="2" creationId="{B3B426FC-E3C7-40F7-B547-694A0FA3B4DD}"/>
          </ac:spMkLst>
        </pc:spChg>
        <pc:spChg chg="mod">
          <ac:chgData name="Delbert Murphy" userId="7a71e747-b122-47ea-b426-44ce2319c6d9" providerId="ADAL" clId="{B59EF993-394A-4AF1-B5E5-13391B9CD323}" dt="2019-03-11T17:00:06.115" v="7865" actId="20577"/>
          <ac:spMkLst>
            <pc:docMk/>
            <pc:sldMk cId="3157140024" sldId="262"/>
            <ac:spMk id="3" creationId="{EF15ECAB-3969-4B8A-AE02-7E0DDED390EC}"/>
          </ac:spMkLst>
        </pc:spChg>
      </pc:sldChg>
      <pc:sldChg chg="modSp add">
        <pc:chgData name="Delbert Murphy" userId="7a71e747-b122-47ea-b426-44ce2319c6d9" providerId="ADAL" clId="{B59EF993-394A-4AF1-B5E5-13391B9CD323}" dt="2019-03-11T18:40:07.497" v="9503" actId="14100"/>
        <pc:sldMkLst>
          <pc:docMk/>
          <pc:sldMk cId="2723463023" sldId="263"/>
        </pc:sldMkLst>
        <pc:spChg chg="mod">
          <ac:chgData name="Delbert Murphy" userId="7a71e747-b122-47ea-b426-44ce2319c6d9" providerId="ADAL" clId="{B59EF993-394A-4AF1-B5E5-13391B9CD323}" dt="2019-03-11T18:39:57.384" v="9502" actId="14100"/>
          <ac:spMkLst>
            <pc:docMk/>
            <pc:sldMk cId="2723463023" sldId="263"/>
            <ac:spMk id="2" creationId="{309A6768-C60C-4ACA-A57E-01378D5562EF}"/>
          </ac:spMkLst>
        </pc:spChg>
        <pc:spChg chg="mod">
          <ac:chgData name="Delbert Murphy" userId="7a71e747-b122-47ea-b426-44ce2319c6d9" providerId="ADAL" clId="{B59EF993-394A-4AF1-B5E5-13391B9CD323}" dt="2019-03-11T18:40:07.497" v="9503" actId="14100"/>
          <ac:spMkLst>
            <pc:docMk/>
            <pc:sldMk cId="2723463023" sldId="263"/>
            <ac:spMk id="3" creationId="{5E2FB856-35C8-480E-982D-D81440BCF5F9}"/>
          </ac:spMkLst>
        </pc:spChg>
      </pc:sldChg>
      <pc:sldChg chg="modSp add">
        <pc:chgData name="Delbert Murphy" userId="7a71e747-b122-47ea-b426-44ce2319c6d9" providerId="ADAL" clId="{B59EF993-394A-4AF1-B5E5-13391B9CD323}" dt="2019-03-11T16:47:57.575" v="7179" actId="20577"/>
        <pc:sldMkLst>
          <pc:docMk/>
          <pc:sldMk cId="1379540730" sldId="264"/>
        </pc:sldMkLst>
        <pc:spChg chg="mod">
          <ac:chgData name="Delbert Murphy" userId="7a71e747-b122-47ea-b426-44ce2319c6d9" providerId="ADAL" clId="{B59EF993-394A-4AF1-B5E5-13391B9CD323}" dt="2019-02-26T21:33:44.492" v="2949" actId="20577"/>
          <ac:spMkLst>
            <pc:docMk/>
            <pc:sldMk cId="1379540730" sldId="264"/>
            <ac:spMk id="2" creationId="{D81EBB12-A87F-46AE-AB17-711C331FE583}"/>
          </ac:spMkLst>
        </pc:spChg>
        <pc:spChg chg="mod">
          <ac:chgData name="Delbert Murphy" userId="7a71e747-b122-47ea-b426-44ce2319c6d9" providerId="ADAL" clId="{B59EF993-394A-4AF1-B5E5-13391B9CD323}" dt="2019-03-11T16:47:57.575" v="7179" actId="20577"/>
          <ac:spMkLst>
            <pc:docMk/>
            <pc:sldMk cId="1379540730" sldId="264"/>
            <ac:spMk id="3" creationId="{7C2D8A43-0ABB-42EA-9106-E0B98AB0864B}"/>
          </ac:spMkLst>
        </pc:spChg>
      </pc:sldChg>
      <pc:sldChg chg="add del">
        <pc:chgData name="Delbert Murphy" userId="7a71e747-b122-47ea-b426-44ce2319c6d9" providerId="ADAL" clId="{B59EF993-394A-4AF1-B5E5-13391B9CD323}" dt="2019-02-22T21:47:17.119" v="947" actId="2696"/>
        <pc:sldMkLst>
          <pc:docMk/>
          <pc:sldMk cId="1596932681" sldId="264"/>
        </pc:sldMkLst>
      </pc:sldChg>
      <pc:sldChg chg="modSp add">
        <pc:chgData name="Delbert Murphy" userId="7a71e747-b122-47ea-b426-44ce2319c6d9" providerId="ADAL" clId="{B59EF993-394A-4AF1-B5E5-13391B9CD323}" dt="2019-02-25T22:26:38.844" v="1812" actId="20577"/>
        <pc:sldMkLst>
          <pc:docMk/>
          <pc:sldMk cId="1971292127" sldId="265"/>
        </pc:sldMkLst>
        <pc:spChg chg="mod">
          <ac:chgData name="Delbert Murphy" userId="7a71e747-b122-47ea-b426-44ce2319c6d9" providerId="ADAL" clId="{B59EF993-394A-4AF1-B5E5-13391B9CD323}" dt="2019-02-25T22:26:38.844" v="1812" actId="20577"/>
          <ac:spMkLst>
            <pc:docMk/>
            <pc:sldMk cId="1971292127" sldId="265"/>
            <ac:spMk id="2" creationId="{4ABAFB9F-A8F2-44FC-B8D3-2D7B200491BF}"/>
          </ac:spMkLst>
        </pc:spChg>
        <pc:spChg chg="mod">
          <ac:chgData name="Delbert Murphy" userId="7a71e747-b122-47ea-b426-44ce2319c6d9" providerId="ADAL" clId="{B59EF993-394A-4AF1-B5E5-13391B9CD323}" dt="2019-02-25T22:26:33.852" v="1805" actId="20577"/>
          <ac:spMkLst>
            <pc:docMk/>
            <pc:sldMk cId="1971292127" sldId="265"/>
            <ac:spMk id="3" creationId="{C736E373-6BCF-4034-90D9-4E3813879DCA}"/>
          </ac:spMkLst>
        </pc:spChg>
      </pc:sldChg>
      <pc:sldChg chg="modSp add ord">
        <pc:chgData name="Delbert Murphy" userId="7a71e747-b122-47ea-b426-44ce2319c6d9" providerId="ADAL" clId="{B59EF993-394A-4AF1-B5E5-13391B9CD323}" dt="2019-03-11T17:01:50.521" v="7988" actId="20577"/>
        <pc:sldMkLst>
          <pc:docMk/>
          <pc:sldMk cId="1879655101" sldId="266"/>
        </pc:sldMkLst>
        <pc:spChg chg="mod">
          <ac:chgData name="Delbert Murphy" userId="7a71e747-b122-47ea-b426-44ce2319c6d9" providerId="ADAL" clId="{B59EF993-394A-4AF1-B5E5-13391B9CD323}" dt="2019-03-11T17:01:50.521" v="7988" actId="20577"/>
          <ac:spMkLst>
            <pc:docMk/>
            <pc:sldMk cId="1879655101" sldId="266"/>
            <ac:spMk id="3" creationId="{EF15ECAB-3969-4B8A-AE02-7E0DDED390EC}"/>
          </ac:spMkLst>
        </pc:spChg>
      </pc:sldChg>
      <pc:sldChg chg="add del">
        <pc:chgData name="Delbert Murphy" userId="7a71e747-b122-47ea-b426-44ce2319c6d9" providerId="ADAL" clId="{B59EF993-394A-4AF1-B5E5-13391B9CD323}" dt="2019-02-26T15:56:41.927" v="2283" actId="2696"/>
        <pc:sldMkLst>
          <pc:docMk/>
          <pc:sldMk cId="1045853144" sldId="267"/>
        </pc:sldMkLst>
      </pc:sldChg>
      <pc:sldChg chg="addSp delSp modSp add">
        <pc:chgData name="Delbert Murphy" userId="7a71e747-b122-47ea-b426-44ce2319c6d9" providerId="ADAL" clId="{B59EF993-394A-4AF1-B5E5-13391B9CD323}" dt="2019-02-26T15:59:00.147" v="2354" actId="20577"/>
        <pc:sldMkLst>
          <pc:docMk/>
          <pc:sldMk cId="3548246892" sldId="267"/>
        </pc:sldMkLst>
        <pc:spChg chg="mod">
          <ac:chgData name="Delbert Murphy" userId="7a71e747-b122-47ea-b426-44ce2319c6d9" providerId="ADAL" clId="{B59EF993-394A-4AF1-B5E5-13391B9CD323}" dt="2019-02-26T15:59:00.147" v="2354" actId="20577"/>
          <ac:spMkLst>
            <pc:docMk/>
            <pc:sldMk cId="3548246892" sldId="267"/>
            <ac:spMk id="2" creationId="{B3B426FC-E3C7-40F7-B547-694A0FA3B4DD}"/>
          </ac:spMkLst>
        </pc:spChg>
        <pc:spChg chg="del">
          <ac:chgData name="Delbert Murphy" userId="7a71e747-b122-47ea-b426-44ce2319c6d9" providerId="ADAL" clId="{B59EF993-394A-4AF1-B5E5-13391B9CD323}" dt="2019-02-26T15:56:54.514" v="2285" actId="478"/>
          <ac:spMkLst>
            <pc:docMk/>
            <pc:sldMk cId="3548246892" sldId="267"/>
            <ac:spMk id="3" creationId="{EF15ECAB-3969-4B8A-AE02-7E0DDED390EC}"/>
          </ac:spMkLst>
        </pc:spChg>
        <pc:spChg chg="add del mod">
          <ac:chgData name="Delbert Murphy" userId="7a71e747-b122-47ea-b426-44ce2319c6d9" providerId="ADAL" clId="{B59EF993-394A-4AF1-B5E5-13391B9CD323}" dt="2019-02-26T15:56:58.157" v="2286" actId="478"/>
          <ac:spMkLst>
            <pc:docMk/>
            <pc:sldMk cId="3548246892" sldId="267"/>
            <ac:spMk id="5" creationId="{8C0386DE-2E35-4BCE-9A10-A56B6AC9B284}"/>
          </ac:spMkLst>
        </pc:spChg>
        <pc:spChg chg="add mod">
          <ac:chgData name="Delbert Murphy" userId="7a71e747-b122-47ea-b426-44ce2319c6d9" providerId="ADAL" clId="{B59EF993-394A-4AF1-B5E5-13391B9CD323}" dt="2019-02-26T15:58:21.359" v="2345" actId="1076"/>
          <ac:spMkLst>
            <pc:docMk/>
            <pc:sldMk cId="3548246892" sldId="267"/>
            <ac:spMk id="6" creationId="{0F71B5A3-5D9E-448E-B933-A108817E5151}"/>
          </ac:spMkLst>
        </pc:spChg>
        <pc:spChg chg="add mod">
          <ac:chgData name="Delbert Murphy" userId="7a71e747-b122-47ea-b426-44ce2319c6d9" providerId="ADAL" clId="{B59EF993-394A-4AF1-B5E5-13391B9CD323}" dt="2019-02-26T15:58:53.820" v="2350" actId="20577"/>
          <ac:spMkLst>
            <pc:docMk/>
            <pc:sldMk cId="3548246892" sldId="267"/>
            <ac:spMk id="7" creationId="{E0685866-F0A4-4404-B56B-E64C2C2EDB11}"/>
          </ac:spMkLst>
        </pc:spChg>
        <pc:picChg chg="add mod">
          <ac:chgData name="Delbert Murphy" userId="7a71e747-b122-47ea-b426-44ce2319c6d9" providerId="ADAL" clId="{B59EF993-394A-4AF1-B5E5-13391B9CD323}" dt="2019-02-26T15:58:14.310" v="2344" actId="1036"/>
          <ac:picMkLst>
            <pc:docMk/>
            <pc:sldMk cId="3548246892" sldId="267"/>
            <ac:picMk id="1026" creationId="{A972286F-21D0-4837-BB41-37D21F4F0047}"/>
          </ac:picMkLst>
        </pc:picChg>
      </pc:sldChg>
      <pc:sldChg chg="addSp delSp modSp add ord">
        <pc:chgData name="Delbert Murphy" userId="7a71e747-b122-47ea-b426-44ce2319c6d9" providerId="ADAL" clId="{B59EF993-394A-4AF1-B5E5-13391B9CD323}" dt="2019-03-11T16:57:02.116" v="7626" actId="20577"/>
        <pc:sldMkLst>
          <pc:docMk/>
          <pc:sldMk cId="2035659336" sldId="268"/>
        </pc:sldMkLst>
        <pc:spChg chg="mod">
          <ac:chgData name="Delbert Murphy" userId="7a71e747-b122-47ea-b426-44ce2319c6d9" providerId="ADAL" clId="{B59EF993-394A-4AF1-B5E5-13391B9CD323}" dt="2019-03-11T16:57:02.116" v="7626" actId="20577"/>
          <ac:spMkLst>
            <pc:docMk/>
            <pc:sldMk cId="2035659336" sldId="268"/>
            <ac:spMk id="2" creationId="{B3B426FC-E3C7-40F7-B547-694A0FA3B4DD}"/>
          </ac:spMkLst>
        </pc:spChg>
        <pc:spChg chg="del">
          <ac:chgData name="Delbert Murphy" userId="7a71e747-b122-47ea-b426-44ce2319c6d9" providerId="ADAL" clId="{B59EF993-394A-4AF1-B5E5-13391B9CD323}" dt="2019-02-26T16:15:26.300" v="2393" actId="478"/>
          <ac:spMkLst>
            <pc:docMk/>
            <pc:sldMk cId="2035659336" sldId="268"/>
            <ac:spMk id="3" creationId="{EF15ECAB-3969-4B8A-AE02-7E0DDED390EC}"/>
          </ac:spMkLst>
        </pc:spChg>
        <pc:spChg chg="add del mod">
          <ac:chgData name="Delbert Murphy" userId="7a71e747-b122-47ea-b426-44ce2319c6d9" providerId="ADAL" clId="{B59EF993-394A-4AF1-B5E5-13391B9CD323}" dt="2019-02-26T16:15:30.459" v="2394" actId="478"/>
          <ac:spMkLst>
            <pc:docMk/>
            <pc:sldMk cId="2035659336" sldId="268"/>
            <ac:spMk id="5" creationId="{B5609BD7-8927-4AE6-AD03-34C05255D26E}"/>
          </ac:spMkLst>
        </pc:spChg>
        <pc:picChg chg="add mod">
          <ac:chgData name="Delbert Murphy" userId="7a71e747-b122-47ea-b426-44ce2319c6d9" providerId="ADAL" clId="{B59EF993-394A-4AF1-B5E5-13391B9CD323}" dt="2019-02-26T16:15:57.340" v="2425" actId="1076"/>
          <ac:picMkLst>
            <pc:docMk/>
            <pc:sldMk cId="2035659336" sldId="268"/>
            <ac:picMk id="2050" creationId="{4A95E409-B0BA-4B69-899B-16DDF705CA04}"/>
          </ac:picMkLst>
        </pc:picChg>
      </pc:sldChg>
      <pc:sldChg chg="add del">
        <pc:chgData name="Delbert Murphy" userId="7a71e747-b122-47ea-b426-44ce2319c6d9" providerId="ADAL" clId="{B59EF993-394A-4AF1-B5E5-13391B9CD323}" dt="2019-02-26T16:15:15.772" v="2391" actId="2696"/>
        <pc:sldMkLst>
          <pc:docMk/>
          <pc:sldMk cId="2854228216" sldId="268"/>
        </pc:sldMkLst>
      </pc:sldChg>
      <pc:sldChg chg="modSp add ord">
        <pc:chgData name="Delbert Murphy" userId="7a71e747-b122-47ea-b426-44ce2319c6d9" providerId="ADAL" clId="{B59EF993-394A-4AF1-B5E5-13391B9CD323}" dt="2019-03-11T17:13:49.338" v="8660" actId="20577"/>
        <pc:sldMkLst>
          <pc:docMk/>
          <pc:sldMk cId="3943419785" sldId="269"/>
        </pc:sldMkLst>
        <pc:spChg chg="mod">
          <ac:chgData name="Delbert Murphy" userId="7a71e747-b122-47ea-b426-44ce2319c6d9" providerId="ADAL" clId="{B59EF993-394A-4AF1-B5E5-13391B9CD323}" dt="2019-03-11T17:13:49.338" v="8660" actId="20577"/>
          <ac:spMkLst>
            <pc:docMk/>
            <pc:sldMk cId="3943419785" sldId="269"/>
            <ac:spMk id="3" creationId="{EF15ECAB-3969-4B8A-AE02-7E0DDED390EC}"/>
          </ac:spMkLst>
        </pc:spChg>
      </pc:sldChg>
      <pc:sldChg chg="addSp modSp add ord">
        <pc:chgData name="Delbert Murphy" userId="7a71e747-b122-47ea-b426-44ce2319c6d9" providerId="ADAL" clId="{B59EF993-394A-4AF1-B5E5-13391B9CD323}" dt="2019-03-10T20:22:56.110" v="7012" actId="1076"/>
        <pc:sldMkLst>
          <pc:docMk/>
          <pc:sldMk cId="826637350" sldId="270"/>
        </pc:sldMkLst>
        <pc:spChg chg="mod">
          <ac:chgData name="Delbert Murphy" userId="7a71e747-b122-47ea-b426-44ce2319c6d9" providerId="ADAL" clId="{B59EF993-394A-4AF1-B5E5-13391B9CD323}" dt="2019-02-26T21:34:04.419" v="2997" actId="20577"/>
          <ac:spMkLst>
            <pc:docMk/>
            <pc:sldMk cId="826637350" sldId="270"/>
            <ac:spMk id="2" creationId="{D81EBB12-A87F-46AE-AB17-711C331FE583}"/>
          </ac:spMkLst>
        </pc:spChg>
        <pc:spChg chg="mod">
          <ac:chgData name="Delbert Murphy" userId="7a71e747-b122-47ea-b426-44ce2319c6d9" providerId="ADAL" clId="{B59EF993-394A-4AF1-B5E5-13391B9CD323}" dt="2019-03-10T20:22:49.215" v="7011" actId="20577"/>
          <ac:spMkLst>
            <pc:docMk/>
            <pc:sldMk cId="826637350" sldId="270"/>
            <ac:spMk id="3" creationId="{7C2D8A43-0ABB-42EA-9106-E0B98AB0864B}"/>
          </ac:spMkLst>
        </pc:spChg>
        <pc:picChg chg="add mod">
          <ac:chgData name="Delbert Murphy" userId="7a71e747-b122-47ea-b426-44ce2319c6d9" providerId="ADAL" clId="{B59EF993-394A-4AF1-B5E5-13391B9CD323}" dt="2019-03-10T20:22:56.110" v="7012" actId="1076"/>
          <ac:picMkLst>
            <pc:docMk/>
            <pc:sldMk cId="826637350" sldId="270"/>
            <ac:picMk id="4" creationId="{04B0D5C4-CFC1-4A82-B184-A5D8A7769347}"/>
          </ac:picMkLst>
        </pc:picChg>
      </pc:sldChg>
      <pc:sldChg chg="add del">
        <pc:chgData name="Delbert Murphy" userId="7a71e747-b122-47ea-b426-44ce2319c6d9" providerId="ADAL" clId="{B59EF993-394A-4AF1-B5E5-13391B9CD323}" dt="2019-02-26T16:50:15.691" v="2796" actId="2696"/>
        <pc:sldMkLst>
          <pc:docMk/>
          <pc:sldMk cId="2610561404" sldId="270"/>
        </pc:sldMkLst>
      </pc:sldChg>
      <pc:sldChg chg="addSp modSp add ord">
        <pc:chgData name="Delbert Murphy" userId="7a71e747-b122-47ea-b426-44ce2319c6d9" providerId="ADAL" clId="{B59EF993-394A-4AF1-B5E5-13391B9CD323}" dt="2019-03-04T18:22:42.608" v="4050" actId="1076"/>
        <pc:sldMkLst>
          <pc:docMk/>
          <pc:sldMk cId="1984968201" sldId="271"/>
        </pc:sldMkLst>
        <pc:spChg chg="mod">
          <ac:chgData name="Delbert Murphy" userId="7a71e747-b122-47ea-b426-44ce2319c6d9" providerId="ADAL" clId="{B59EF993-394A-4AF1-B5E5-13391B9CD323}" dt="2019-02-26T21:49:59.723" v="3145" actId="20577"/>
          <ac:spMkLst>
            <pc:docMk/>
            <pc:sldMk cId="1984968201" sldId="271"/>
            <ac:spMk id="2" creationId="{B3B426FC-E3C7-40F7-B547-694A0FA3B4DD}"/>
          </ac:spMkLst>
        </pc:spChg>
        <pc:spChg chg="mod">
          <ac:chgData name="Delbert Murphy" userId="7a71e747-b122-47ea-b426-44ce2319c6d9" providerId="ADAL" clId="{B59EF993-394A-4AF1-B5E5-13391B9CD323}" dt="2019-03-04T18:18:16.323" v="3921" actId="27636"/>
          <ac:spMkLst>
            <pc:docMk/>
            <pc:sldMk cId="1984968201" sldId="271"/>
            <ac:spMk id="3" creationId="{EF15ECAB-3969-4B8A-AE02-7E0DDED390EC}"/>
          </ac:spMkLst>
        </pc:spChg>
        <pc:spChg chg="add mod">
          <ac:chgData name="Delbert Murphy" userId="7a71e747-b122-47ea-b426-44ce2319c6d9" providerId="ADAL" clId="{B59EF993-394A-4AF1-B5E5-13391B9CD323}" dt="2019-03-04T18:21:14.744" v="3966" actId="1076"/>
          <ac:spMkLst>
            <pc:docMk/>
            <pc:sldMk cId="1984968201" sldId="271"/>
            <ac:spMk id="5" creationId="{002D568A-F72F-49E4-92FC-58F0B715716B}"/>
          </ac:spMkLst>
        </pc:spChg>
        <pc:spChg chg="add mod">
          <ac:chgData name="Delbert Murphy" userId="7a71e747-b122-47ea-b426-44ce2319c6d9" providerId="ADAL" clId="{B59EF993-394A-4AF1-B5E5-13391B9CD323}" dt="2019-03-04T18:21:35.164" v="3968" actId="1076"/>
          <ac:spMkLst>
            <pc:docMk/>
            <pc:sldMk cId="1984968201" sldId="271"/>
            <ac:spMk id="6" creationId="{E2EC68D1-25F2-4B8C-AE77-B67E1BE41ED0}"/>
          </ac:spMkLst>
        </pc:spChg>
        <pc:spChg chg="add mod">
          <ac:chgData name="Delbert Murphy" userId="7a71e747-b122-47ea-b426-44ce2319c6d9" providerId="ADAL" clId="{B59EF993-394A-4AF1-B5E5-13391B9CD323}" dt="2019-03-04T18:22:42.608" v="4050" actId="1076"/>
          <ac:spMkLst>
            <pc:docMk/>
            <pc:sldMk cId="1984968201" sldId="271"/>
            <ac:spMk id="7" creationId="{FC700916-CC2A-4008-B345-95664D112887}"/>
          </ac:spMkLst>
        </pc:spChg>
        <pc:picChg chg="add mod">
          <ac:chgData name="Delbert Murphy" userId="7a71e747-b122-47ea-b426-44ce2319c6d9" providerId="ADAL" clId="{B59EF993-394A-4AF1-B5E5-13391B9CD323}" dt="2019-03-04T18:19:59.324" v="3926" actId="1076"/>
          <ac:picMkLst>
            <pc:docMk/>
            <pc:sldMk cId="1984968201" sldId="271"/>
            <ac:picMk id="4" creationId="{E0217E46-2D9D-4321-8D6A-EAD4465EEC62}"/>
          </ac:picMkLst>
        </pc:picChg>
      </pc:sldChg>
      <pc:sldChg chg="add">
        <pc:chgData name="Delbert Murphy" userId="7a71e747-b122-47ea-b426-44ce2319c6d9" providerId="ADAL" clId="{B59EF993-394A-4AF1-B5E5-13391B9CD323}" dt="2019-02-27T14:59:14.472" v="3243"/>
        <pc:sldMkLst>
          <pc:docMk/>
          <pc:sldMk cId="318884050" sldId="272"/>
        </pc:sldMkLst>
      </pc:sldChg>
      <pc:sldChg chg="add">
        <pc:chgData name="Delbert Murphy" userId="7a71e747-b122-47ea-b426-44ce2319c6d9" providerId="ADAL" clId="{B59EF993-394A-4AF1-B5E5-13391B9CD323}" dt="2019-02-27T14:59:14.472" v="3243"/>
        <pc:sldMkLst>
          <pc:docMk/>
          <pc:sldMk cId="1399078456" sldId="273"/>
        </pc:sldMkLst>
      </pc:sldChg>
      <pc:sldChg chg="add">
        <pc:chgData name="Delbert Murphy" userId="7a71e747-b122-47ea-b426-44ce2319c6d9" providerId="ADAL" clId="{B59EF993-394A-4AF1-B5E5-13391B9CD323}" dt="2019-02-27T14:59:14.472" v="3243"/>
        <pc:sldMkLst>
          <pc:docMk/>
          <pc:sldMk cId="2342401077" sldId="274"/>
        </pc:sldMkLst>
      </pc:sldChg>
      <pc:sldChg chg="add">
        <pc:chgData name="Delbert Murphy" userId="7a71e747-b122-47ea-b426-44ce2319c6d9" providerId="ADAL" clId="{B59EF993-394A-4AF1-B5E5-13391B9CD323}" dt="2019-02-27T14:59:14.472" v="3243"/>
        <pc:sldMkLst>
          <pc:docMk/>
          <pc:sldMk cId="2461577795" sldId="275"/>
        </pc:sldMkLst>
      </pc:sldChg>
      <pc:sldChg chg="add">
        <pc:chgData name="Delbert Murphy" userId="7a71e747-b122-47ea-b426-44ce2319c6d9" providerId="ADAL" clId="{B59EF993-394A-4AF1-B5E5-13391B9CD323}" dt="2019-02-27T14:59:14.472" v="3243"/>
        <pc:sldMkLst>
          <pc:docMk/>
          <pc:sldMk cId="268525740" sldId="276"/>
        </pc:sldMkLst>
      </pc:sldChg>
      <pc:sldChg chg="add del">
        <pc:chgData name="Delbert Murphy" userId="7a71e747-b122-47ea-b426-44ce2319c6d9" providerId="ADAL" clId="{B59EF993-394A-4AF1-B5E5-13391B9CD323}" dt="2019-03-04T18:16:40.603" v="3867" actId="2696"/>
        <pc:sldMkLst>
          <pc:docMk/>
          <pc:sldMk cId="1946140513" sldId="277"/>
        </pc:sldMkLst>
      </pc:sldChg>
      <pc:sldChg chg="addSp modSp add">
        <pc:chgData name="Delbert Murphy" userId="7a71e747-b122-47ea-b426-44ce2319c6d9" providerId="ADAL" clId="{B59EF993-394A-4AF1-B5E5-13391B9CD323}" dt="2019-03-05T15:15:56.929" v="4656" actId="1035"/>
        <pc:sldMkLst>
          <pc:docMk/>
          <pc:sldMk cId="3678976480" sldId="277"/>
        </pc:sldMkLst>
        <pc:spChg chg="mod">
          <ac:chgData name="Delbert Murphy" userId="7a71e747-b122-47ea-b426-44ce2319c6d9" providerId="ADAL" clId="{B59EF993-394A-4AF1-B5E5-13391B9CD323}" dt="2019-03-05T15:13:03.098" v="4579" actId="1076"/>
          <ac:spMkLst>
            <pc:docMk/>
            <pc:sldMk cId="3678976480" sldId="277"/>
            <ac:spMk id="2" creationId="{B3B426FC-E3C7-40F7-B547-694A0FA3B4DD}"/>
          </ac:spMkLst>
        </pc:spChg>
        <pc:spChg chg="mod">
          <ac:chgData name="Delbert Murphy" userId="7a71e747-b122-47ea-b426-44ce2319c6d9" providerId="ADAL" clId="{B59EF993-394A-4AF1-B5E5-13391B9CD323}" dt="2019-03-05T15:14:52.520" v="4594" actId="20577"/>
          <ac:spMkLst>
            <pc:docMk/>
            <pc:sldMk cId="3678976480" sldId="277"/>
            <ac:spMk id="3" creationId="{EF15ECAB-3969-4B8A-AE02-7E0DDED390EC}"/>
          </ac:spMkLst>
        </pc:spChg>
        <pc:spChg chg="add mod">
          <ac:chgData name="Delbert Murphy" userId="7a71e747-b122-47ea-b426-44ce2319c6d9" providerId="ADAL" clId="{B59EF993-394A-4AF1-B5E5-13391B9CD323}" dt="2019-03-05T15:15:56.929" v="4656" actId="1035"/>
          <ac:spMkLst>
            <pc:docMk/>
            <pc:sldMk cId="3678976480" sldId="277"/>
            <ac:spMk id="5" creationId="{559483E9-589E-4CCD-8C99-1C67BAF11CE1}"/>
          </ac:spMkLst>
        </pc:spChg>
        <pc:picChg chg="add mod">
          <ac:chgData name="Delbert Murphy" userId="7a71e747-b122-47ea-b426-44ce2319c6d9" providerId="ADAL" clId="{B59EF993-394A-4AF1-B5E5-13391B9CD323}" dt="2019-03-05T15:15:56.929" v="4656" actId="1035"/>
          <ac:picMkLst>
            <pc:docMk/>
            <pc:sldMk cId="3678976480" sldId="277"/>
            <ac:picMk id="4" creationId="{325C8E5D-D394-4B0F-A8E6-6B8AFBABA979}"/>
          </ac:picMkLst>
        </pc:picChg>
        <pc:picChg chg="add mod">
          <ac:chgData name="Delbert Murphy" userId="7a71e747-b122-47ea-b426-44ce2319c6d9" providerId="ADAL" clId="{B59EF993-394A-4AF1-B5E5-13391B9CD323}" dt="2019-03-05T15:15:04.624" v="4595" actId="1076"/>
          <ac:picMkLst>
            <pc:docMk/>
            <pc:sldMk cId="3678976480" sldId="277"/>
            <ac:picMk id="6" creationId="{ABDA4290-E1A0-4EE9-B35A-436FCC3795DF}"/>
          </ac:picMkLst>
        </pc:picChg>
      </pc:sldChg>
      <pc:sldChg chg="modSp add">
        <pc:chgData name="Delbert Murphy" userId="7a71e747-b122-47ea-b426-44ce2319c6d9" providerId="ADAL" clId="{B59EF993-394A-4AF1-B5E5-13391B9CD323}" dt="2019-03-04T18:18:24.845" v="3923" actId="27636"/>
        <pc:sldMkLst>
          <pc:docMk/>
          <pc:sldMk cId="3109860075" sldId="278"/>
        </pc:sldMkLst>
        <pc:spChg chg="mod">
          <ac:chgData name="Delbert Murphy" userId="7a71e747-b122-47ea-b426-44ce2319c6d9" providerId="ADAL" clId="{B59EF993-394A-4AF1-B5E5-13391B9CD323}" dt="2019-03-04T18:18:24.845" v="3923" actId="27636"/>
          <ac:spMkLst>
            <pc:docMk/>
            <pc:sldMk cId="3109860075" sldId="278"/>
            <ac:spMk id="3" creationId="{EF15ECAB-3969-4B8A-AE02-7E0DDED390EC}"/>
          </ac:spMkLst>
        </pc:spChg>
      </pc:sldChg>
      <pc:sldChg chg="addSp modSp add">
        <pc:chgData name="Delbert Murphy" userId="7a71e747-b122-47ea-b426-44ce2319c6d9" providerId="ADAL" clId="{B59EF993-394A-4AF1-B5E5-13391B9CD323}" dt="2019-03-04T18:28:17.167" v="4215" actId="1076"/>
        <pc:sldMkLst>
          <pc:docMk/>
          <pc:sldMk cId="2538497417" sldId="279"/>
        </pc:sldMkLst>
        <pc:spChg chg="mod">
          <ac:chgData name="Delbert Murphy" userId="7a71e747-b122-47ea-b426-44ce2319c6d9" providerId="ADAL" clId="{B59EF993-394A-4AF1-B5E5-13391B9CD323}" dt="2019-03-04T18:23:25.735" v="4078" actId="20577"/>
          <ac:spMkLst>
            <pc:docMk/>
            <pc:sldMk cId="2538497417" sldId="279"/>
            <ac:spMk id="2" creationId="{B3B426FC-E3C7-40F7-B547-694A0FA3B4DD}"/>
          </ac:spMkLst>
        </pc:spChg>
        <pc:spChg chg="mod">
          <ac:chgData name="Delbert Murphy" userId="7a71e747-b122-47ea-b426-44ce2319c6d9" providerId="ADAL" clId="{B59EF993-394A-4AF1-B5E5-13391B9CD323}" dt="2019-03-04T18:28:09.819" v="4214" actId="20577"/>
          <ac:spMkLst>
            <pc:docMk/>
            <pc:sldMk cId="2538497417" sldId="279"/>
            <ac:spMk id="3" creationId="{EF15ECAB-3969-4B8A-AE02-7E0DDED390EC}"/>
          </ac:spMkLst>
        </pc:spChg>
        <pc:picChg chg="add mod">
          <ac:chgData name="Delbert Murphy" userId="7a71e747-b122-47ea-b426-44ce2319c6d9" providerId="ADAL" clId="{B59EF993-394A-4AF1-B5E5-13391B9CD323}" dt="2019-03-04T18:27:48.626" v="4199" actId="1076"/>
          <ac:picMkLst>
            <pc:docMk/>
            <pc:sldMk cId="2538497417" sldId="279"/>
            <ac:picMk id="4" creationId="{CB51D1D3-E503-4DE4-97F2-F292FAF65F1A}"/>
          </ac:picMkLst>
        </pc:picChg>
        <pc:picChg chg="add mod">
          <ac:chgData name="Delbert Murphy" userId="7a71e747-b122-47ea-b426-44ce2319c6d9" providerId="ADAL" clId="{B59EF993-394A-4AF1-B5E5-13391B9CD323}" dt="2019-03-04T18:28:17.167" v="4215" actId="1076"/>
          <ac:picMkLst>
            <pc:docMk/>
            <pc:sldMk cId="2538497417" sldId="279"/>
            <ac:picMk id="1026" creationId="{98F7298F-E563-4505-9681-B83E588F7C46}"/>
          </ac:picMkLst>
        </pc:picChg>
      </pc:sldChg>
      <pc:sldChg chg="add del">
        <pc:chgData name="Delbert Murphy" userId="7a71e747-b122-47ea-b426-44ce2319c6d9" providerId="ADAL" clId="{B59EF993-394A-4AF1-B5E5-13391B9CD323}" dt="2019-03-05T15:13:13.943" v="4581" actId="2696"/>
        <pc:sldMkLst>
          <pc:docMk/>
          <pc:sldMk cId="581011793" sldId="280"/>
        </pc:sldMkLst>
      </pc:sldChg>
      <pc:sldChg chg="delSp modSp add">
        <pc:chgData name="Delbert Murphy" userId="7a71e747-b122-47ea-b426-44ce2319c6d9" providerId="ADAL" clId="{B59EF993-394A-4AF1-B5E5-13391B9CD323}" dt="2019-03-05T15:39:17.471" v="4709" actId="478"/>
        <pc:sldMkLst>
          <pc:docMk/>
          <pc:sldMk cId="3087889441" sldId="280"/>
        </pc:sldMkLst>
        <pc:spChg chg="mod">
          <ac:chgData name="Delbert Murphy" userId="7a71e747-b122-47ea-b426-44ce2319c6d9" providerId="ADAL" clId="{B59EF993-394A-4AF1-B5E5-13391B9CD323}" dt="2019-03-05T15:39:14.130" v="4708" actId="14100"/>
          <ac:spMkLst>
            <pc:docMk/>
            <pc:sldMk cId="3087889441" sldId="280"/>
            <ac:spMk id="2" creationId="{20A4ED49-2041-4C53-8AA6-12D33D776F6F}"/>
          </ac:spMkLst>
        </pc:spChg>
        <pc:spChg chg="del">
          <ac:chgData name="Delbert Murphy" userId="7a71e747-b122-47ea-b426-44ce2319c6d9" providerId="ADAL" clId="{B59EF993-394A-4AF1-B5E5-13391B9CD323}" dt="2019-03-05T15:39:17.471" v="4709" actId="478"/>
          <ac:spMkLst>
            <pc:docMk/>
            <pc:sldMk cId="3087889441" sldId="280"/>
            <ac:spMk id="3" creationId="{0ADA6C2C-60E2-43E9-A079-2BDF1D18CAB4}"/>
          </ac:spMkLst>
        </pc:spChg>
      </pc:sldChg>
      <pc:sldChg chg="delSp modSp add">
        <pc:chgData name="Delbert Murphy" userId="7a71e747-b122-47ea-b426-44ce2319c6d9" providerId="ADAL" clId="{B59EF993-394A-4AF1-B5E5-13391B9CD323}" dt="2019-03-11T17:26:32.082" v="8749" actId="20577"/>
        <pc:sldMkLst>
          <pc:docMk/>
          <pc:sldMk cId="16389947" sldId="281"/>
        </pc:sldMkLst>
        <pc:spChg chg="mod">
          <ac:chgData name="Delbert Murphy" userId="7a71e747-b122-47ea-b426-44ce2319c6d9" providerId="ADAL" clId="{B59EF993-394A-4AF1-B5E5-13391B9CD323}" dt="2019-03-11T17:26:32.082" v="8749" actId="20577"/>
          <ac:spMkLst>
            <pc:docMk/>
            <pc:sldMk cId="16389947" sldId="281"/>
            <ac:spMk id="3" creationId="{EF15ECAB-3969-4B8A-AE02-7E0DDED390EC}"/>
          </ac:spMkLst>
        </pc:spChg>
        <pc:spChg chg="del">
          <ac:chgData name="Delbert Murphy" userId="7a71e747-b122-47ea-b426-44ce2319c6d9" providerId="ADAL" clId="{B59EF993-394A-4AF1-B5E5-13391B9CD323}" dt="2019-03-05T15:40:13.170" v="4766" actId="478"/>
          <ac:spMkLst>
            <pc:docMk/>
            <pc:sldMk cId="16389947" sldId="281"/>
            <ac:spMk id="5" creationId="{559483E9-589E-4CCD-8C99-1C67BAF11CE1}"/>
          </ac:spMkLst>
        </pc:spChg>
        <pc:picChg chg="del">
          <ac:chgData name="Delbert Murphy" userId="7a71e747-b122-47ea-b426-44ce2319c6d9" providerId="ADAL" clId="{B59EF993-394A-4AF1-B5E5-13391B9CD323}" dt="2019-03-05T15:40:10.980" v="4765" actId="478"/>
          <ac:picMkLst>
            <pc:docMk/>
            <pc:sldMk cId="16389947" sldId="281"/>
            <ac:picMk id="4" creationId="{325C8E5D-D394-4B0F-A8E6-6B8AFBABA979}"/>
          </ac:picMkLst>
        </pc:picChg>
        <pc:picChg chg="del">
          <ac:chgData name="Delbert Murphy" userId="7a71e747-b122-47ea-b426-44ce2319c6d9" providerId="ADAL" clId="{B59EF993-394A-4AF1-B5E5-13391B9CD323}" dt="2019-03-05T15:41:05.180" v="4868" actId="478"/>
          <ac:picMkLst>
            <pc:docMk/>
            <pc:sldMk cId="16389947" sldId="281"/>
            <ac:picMk id="6" creationId="{ABDA4290-E1A0-4EE9-B35A-436FCC3795DF}"/>
          </ac:picMkLst>
        </pc:picChg>
      </pc:sldChg>
      <pc:sldChg chg="modSp add modAnim">
        <pc:chgData name="Delbert Murphy" userId="7a71e747-b122-47ea-b426-44ce2319c6d9" providerId="ADAL" clId="{B59EF993-394A-4AF1-B5E5-13391B9CD323}" dt="2019-03-11T18:53:31.419" v="9709"/>
        <pc:sldMkLst>
          <pc:docMk/>
          <pc:sldMk cId="2429082422" sldId="1821"/>
        </pc:sldMkLst>
        <pc:spChg chg="mod">
          <ac:chgData name="Delbert Murphy" userId="7a71e747-b122-47ea-b426-44ce2319c6d9" providerId="ADAL" clId="{B59EF993-394A-4AF1-B5E5-13391B9CD323}" dt="2019-03-11T17:24:47.923" v="8737" actId="207"/>
          <ac:spMkLst>
            <pc:docMk/>
            <pc:sldMk cId="2429082422" sldId="1821"/>
            <ac:spMk id="8" creationId="{00000000-0000-0000-0000-000000000000}"/>
          </ac:spMkLst>
        </pc:spChg>
        <pc:spChg chg="mod">
          <ac:chgData name="Delbert Murphy" userId="7a71e747-b122-47ea-b426-44ce2319c6d9" providerId="ADAL" clId="{B59EF993-394A-4AF1-B5E5-13391B9CD323}" dt="2019-03-11T17:24:37.052" v="8736" actId="207"/>
          <ac:spMkLst>
            <pc:docMk/>
            <pc:sldMk cId="2429082422" sldId="1821"/>
            <ac:spMk id="164" creationId="{D273B513-3A39-4E13-AB15-DD366EC0D11E}"/>
          </ac:spMkLst>
        </pc:spChg>
      </pc:sldChg>
      <pc:sldChg chg="modSp add">
        <pc:chgData name="Delbert Murphy" userId="7a71e747-b122-47ea-b426-44ce2319c6d9" providerId="ADAL" clId="{B59EF993-394A-4AF1-B5E5-13391B9CD323}" dt="2019-03-05T16:16:57.820" v="4972" actId="404"/>
        <pc:sldMkLst>
          <pc:docMk/>
          <pc:sldMk cId="1895469973" sldId="1823"/>
        </pc:sldMkLst>
        <pc:spChg chg="mod">
          <ac:chgData name="Delbert Murphy" userId="7a71e747-b122-47ea-b426-44ce2319c6d9" providerId="ADAL" clId="{B59EF993-394A-4AF1-B5E5-13391B9CD323}" dt="2019-03-05T16:16:57.820" v="4972" actId="404"/>
          <ac:spMkLst>
            <pc:docMk/>
            <pc:sldMk cId="1895469973" sldId="1823"/>
            <ac:spMk id="5" creationId="{67F2A6AD-8BEF-F349-BB22-D7F6D28B48CD}"/>
          </ac:spMkLst>
        </pc:spChg>
      </pc:sldChg>
      <pc:sldChg chg="add setBg">
        <pc:chgData name="Delbert Murphy" userId="7a71e747-b122-47ea-b426-44ce2319c6d9" providerId="ADAL" clId="{B59EF993-394A-4AF1-B5E5-13391B9CD323}" dt="2019-03-05T16:14:17.235" v="4961"/>
        <pc:sldMkLst>
          <pc:docMk/>
          <pc:sldMk cId="4140044568" sldId="3294"/>
        </pc:sldMkLst>
      </pc:sldChg>
      <pc:sldChg chg="modSp add modTransition setBg">
        <pc:chgData name="Delbert Murphy" userId="7a71e747-b122-47ea-b426-44ce2319c6d9" providerId="ADAL" clId="{B59EF993-394A-4AF1-B5E5-13391B9CD323}" dt="2019-03-05T16:15:23.057" v="4968" actId="1076"/>
        <pc:sldMkLst>
          <pc:docMk/>
          <pc:sldMk cId="3644313042" sldId="3365"/>
        </pc:sldMkLst>
        <pc:spChg chg="mod">
          <ac:chgData name="Delbert Murphy" userId="7a71e747-b122-47ea-b426-44ce2319c6d9" providerId="ADAL" clId="{B59EF993-394A-4AF1-B5E5-13391B9CD323}" dt="2019-03-05T16:15:13.790" v="4967" actId="1076"/>
          <ac:spMkLst>
            <pc:docMk/>
            <pc:sldMk cId="3644313042" sldId="3365"/>
            <ac:spMk id="8" creationId="{93905270-DA37-4DA3-B45D-EBDB6138F2A9}"/>
          </ac:spMkLst>
        </pc:spChg>
        <pc:spChg chg="mod">
          <ac:chgData name="Delbert Murphy" userId="7a71e747-b122-47ea-b426-44ce2319c6d9" providerId="ADAL" clId="{B59EF993-394A-4AF1-B5E5-13391B9CD323}" dt="2019-03-05T16:15:23.057" v="4968" actId="1076"/>
          <ac:spMkLst>
            <pc:docMk/>
            <pc:sldMk cId="3644313042" sldId="3365"/>
            <ac:spMk id="9" creationId="{95F35D56-F37F-47D2-B5B0-4EEA5F0FC24F}"/>
          </ac:spMkLst>
        </pc:spChg>
      </pc:sldChg>
      <pc:sldChg chg="add modTransition">
        <pc:chgData name="Delbert Murphy" userId="7a71e747-b122-47ea-b426-44ce2319c6d9" providerId="ADAL" clId="{B59EF993-394A-4AF1-B5E5-13391B9CD323}" dt="2019-03-05T16:16:43.072" v="4969"/>
        <pc:sldMkLst>
          <pc:docMk/>
          <pc:sldMk cId="4154488200" sldId="3448"/>
        </pc:sldMkLst>
      </pc:sldChg>
      <pc:sldChg chg="modSp add modTransition modAnim">
        <pc:chgData name="Delbert Murphy" userId="7a71e747-b122-47ea-b426-44ce2319c6d9" providerId="ADAL" clId="{B59EF993-394A-4AF1-B5E5-13391B9CD323}" dt="2019-03-11T18:52:56.518" v="9707"/>
        <pc:sldMkLst>
          <pc:docMk/>
          <pc:sldMk cId="2544027066" sldId="3746"/>
        </pc:sldMkLst>
        <pc:spChg chg="mod">
          <ac:chgData name="Delbert Murphy" userId="7a71e747-b122-47ea-b426-44ce2319c6d9" providerId="ADAL" clId="{B59EF993-394A-4AF1-B5E5-13391B9CD323}" dt="2019-03-05T19:32:51.324" v="5996" actId="27636"/>
          <ac:spMkLst>
            <pc:docMk/>
            <pc:sldMk cId="2544027066" sldId="3746"/>
            <ac:spMk id="85" creationId="{2CD05ED2-1071-4A65-9B8F-D083170C6877}"/>
          </ac:spMkLst>
        </pc:spChg>
      </pc:sldChg>
      <pc:sldChg chg="modSp add modTransition">
        <pc:chgData name="Delbert Murphy" userId="7a71e747-b122-47ea-b426-44ce2319c6d9" providerId="ADAL" clId="{B59EF993-394A-4AF1-B5E5-13391B9CD323}" dt="2019-03-05T16:17:43.843" v="4979" actId="1076"/>
        <pc:sldMkLst>
          <pc:docMk/>
          <pc:sldMk cId="3577798399" sldId="8301"/>
        </pc:sldMkLst>
        <pc:spChg chg="mod">
          <ac:chgData name="Delbert Murphy" userId="7a71e747-b122-47ea-b426-44ce2319c6d9" providerId="ADAL" clId="{B59EF993-394A-4AF1-B5E5-13391B9CD323}" dt="2019-03-05T16:17:39.500" v="4978" actId="14100"/>
          <ac:spMkLst>
            <pc:docMk/>
            <pc:sldMk cId="3577798399" sldId="8301"/>
            <ac:spMk id="2" creationId="{9A7C7ADF-5687-4666-B10A-6E1C8CA4C81E}"/>
          </ac:spMkLst>
        </pc:spChg>
        <pc:spChg chg="mod">
          <ac:chgData name="Delbert Murphy" userId="7a71e747-b122-47ea-b426-44ce2319c6d9" providerId="ADAL" clId="{B59EF993-394A-4AF1-B5E5-13391B9CD323}" dt="2019-03-05T16:17:32.448" v="4977" actId="1076"/>
          <ac:spMkLst>
            <pc:docMk/>
            <pc:sldMk cId="3577798399" sldId="8301"/>
            <ac:spMk id="7" creationId="{7E8C2151-66A9-4C55-98B8-CF41188B3DA8}"/>
          </ac:spMkLst>
        </pc:spChg>
        <pc:spChg chg="mod">
          <ac:chgData name="Delbert Murphy" userId="7a71e747-b122-47ea-b426-44ce2319c6d9" providerId="ADAL" clId="{B59EF993-394A-4AF1-B5E5-13391B9CD323}" dt="2019-03-05T16:17:43.843" v="4979" actId="1076"/>
          <ac:spMkLst>
            <pc:docMk/>
            <pc:sldMk cId="3577798399" sldId="8301"/>
            <ac:spMk id="8" creationId="{EFBF41AE-2EB8-415B-940C-5CC841CB4D34}"/>
          </ac:spMkLst>
        </pc:spChg>
      </pc:sldChg>
      <pc:sldChg chg="add modTransition">
        <pc:chgData name="Delbert Murphy" userId="7a71e747-b122-47ea-b426-44ce2319c6d9" providerId="ADAL" clId="{B59EF993-394A-4AF1-B5E5-13391B9CD323}" dt="2019-03-05T16:14:17.235" v="4961"/>
        <pc:sldMkLst>
          <pc:docMk/>
          <pc:sldMk cId="3484830026" sldId="8304"/>
        </pc:sldMkLst>
      </pc:sldChg>
      <pc:sldChg chg="modSp add ord">
        <pc:chgData name="Delbert Murphy" userId="7a71e747-b122-47ea-b426-44ce2319c6d9" providerId="ADAL" clId="{B59EF993-394A-4AF1-B5E5-13391B9CD323}" dt="2019-03-05T19:26:19.777" v="5991"/>
        <pc:sldMkLst>
          <pc:docMk/>
          <pc:sldMk cId="59932649" sldId="8305"/>
        </pc:sldMkLst>
        <pc:spChg chg="mod">
          <ac:chgData name="Delbert Murphy" userId="7a71e747-b122-47ea-b426-44ce2319c6d9" providerId="ADAL" clId="{B59EF993-394A-4AF1-B5E5-13391B9CD323}" dt="2019-03-05T16:26:56.672" v="5221" actId="20577"/>
          <ac:spMkLst>
            <pc:docMk/>
            <pc:sldMk cId="59932649" sldId="8305"/>
            <ac:spMk id="2" creationId="{B3B426FC-E3C7-40F7-B547-694A0FA3B4DD}"/>
          </ac:spMkLst>
        </pc:spChg>
        <pc:spChg chg="mod">
          <ac:chgData name="Delbert Murphy" userId="7a71e747-b122-47ea-b426-44ce2319c6d9" providerId="ADAL" clId="{B59EF993-394A-4AF1-B5E5-13391B9CD323}" dt="2019-03-05T19:25:49.869" v="5990" actId="20577"/>
          <ac:spMkLst>
            <pc:docMk/>
            <pc:sldMk cId="59932649" sldId="8305"/>
            <ac:spMk id="3" creationId="{EF15ECAB-3969-4B8A-AE02-7E0DDED390EC}"/>
          </ac:spMkLst>
        </pc:spChg>
      </pc:sldChg>
      <pc:sldChg chg="add del">
        <pc:chgData name="Delbert Murphy" userId="7a71e747-b122-47ea-b426-44ce2319c6d9" providerId="ADAL" clId="{B59EF993-394A-4AF1-B5E5-13391B9CD323}" dt="2019-03-05T16:23:16.957" v="4981" actId="2696"/>
        <pc:sldMkLst>
          <pc:docMk/>
          <pc:sldMk cId="3031098941" sldId="8305"/>
        </pc:sldMkLst>
      </pc:sldChg>
      <pc:sldChg chg="modSp add">
        <pc:chgData name="Delbert Murphy" userId="7a71e747-b122-47ea-b426-44ce2319c6d9" providerId="ADAL" clId="{B59EF993-394A-4AF1-B5E5-13391B9CD323}" dt="2019-03-05T19:32:01.975" v="5994" actId="27636"/>
        <pc:sldMkLst>
          <pc:docMk/>
          <pc:sldMk cId="2876124228" sldId="8518"/>
        </pc:sldMkLst>
        <pc:spChg chg="mod">
          <ac:chgData name="Delbert Murphy" userId="7a71e747-b122-47ea-b426-44ce2319c6d9" providerId="ADAL" clId="{B59EF993-394A-4AF1-B5E5-13391B9CD323}" dt="2019-03-05T19:32:01.975" v="5994" actId="27636"/>
          <ac:spMkLst>
            <pc:docMk/>
            <pc:sldMk cId="2876124228" sldId="8518"/>
            <ac:spMk id="2" creationId="{1D95ECD4-1699-454D-AF6B-027117574E4B}"/>
          </ac:spMkLst>
        </pc:spChg>
      </pc:sldChg>
      <pc:sldChg chg="add modAnim">
        <pc:chgData name="Delbert Murphy" userId="7a71e747-b122-47ea-b426-44ce2319c6d9" providerId="ADAL" clId="{B59EF993-394A-4AF1-B5E5-13391B9CD323}" dt="2019-03-11T18:53:08.059" v="9708"/>
        <pc:sldMkLst>
          <pc:docMk/>
          <pc:sldMk cId="299508961" sldId="8544"/>
        </pc:sldMkLst>
      </pc:sldChg>
      <pc:sldChg chg="modSp add">
        <pc:chgData name="Delbert Murphy" userId="7a71e747-b122-47ea-b426-44ce2319c6d9" providerId="ADAL" clId="{B59EF993-394A-4AF1-B5E5-13391B9CD323}" dt="2019-03-10T20:27:40.440" v="7120"/>
        <pc:sldMkLst>
          <pc:docMk/>
          <pc:sldMk cId="3273971206" sldId="8545"/>
        </pc:sldMkLst>
        <pc:spChg chg="mod">
          <ac:chgData name="Delbert Murphy" userId="7a71e747-b122-47ea-b426-44ce2319c6d9" providerId="ADAL" clId="{B59EF993-394A-4AF1-B5E5-13391B9CD323}" dt="2019-03-10T20:27:40.440" v="7120"/>
          <ac:spMkLst>
            <pc:docMk/>
            <pc:sldMk cId="3273971206" sldId="8545"/>
            <ac:spMk id="3" creationId="{EF15ECAB-3969-4B8A-AE02-7E0DDED390EC}"/>
          </ac:spMkLst>
        </pc:spChg>
      </pc:sldChg>
      <pc:sldChg chg="add del">
        <pc:chgData name="Delbert Murphy" userId="7a71e747-b122-47ea-b426-44ce2319c6d9" providerId="ADAL" clId="{B59EF993-394A-4AF1-B5E5-13391B9CD323}" dt="2019-03-08T14:15:28.901" v="6452" actId="2696"/>
        <pc:sldMkLst>
          <pc:docMk/>
          <pc:sldMk cId="4209077775" sldId="8545"/>
        </pc:sldMkLst>
      </pc:sldChg>
      <pc:sldChg chg="modSp add ord">
        <pc:chgData name="Delbert Murphy" userId="7a71e747-b122-47ea-b426-44ce2319c6d9" providerId="ADAL" clId="{B59EF993-394A-4AF1-B5E5-13391B9CD323}" dt="2019-03-11T17:14:20.137" v="8688" actId="20577"/>
        <pc:sldMkLst>
          <pc:docMk/>
          <pc:sldMk cId="2760168962" sldId="8546"/>
        </pc:sldMkLst>
        <pc:spChg chg="mod">
          <ac:chgData name="Delbert Murphy" userId="7a71e747-b122-47ea-b426-44ce2319c6d9" providerId="ADAL" clId="{B59EF993-394A-4AF1-B5E5-13391B9CD323}" dt="2019-03-10T17:46:32.615" v="6927" actId="20577"/>
          <ac:spMkLst>
            <pc:docMk/>
            <pc:sldMk cId="2760168962" sldId="8546"/>
            <ac:spMk id="2" creationId="{B3B426FC-E3C7-40F7-B547-694A0FA3B4DD}"/>
          </ac:spMkLst>
        </pc:spChg>
        <pc:spChg chg="mod">
          <ac:chgData name="Delbert Murphy" userId="7a71e747-b122-47ea-b426-44ce2319c6d9" providerId="ADAL" clId="{B59EF993-394A-4AF1-B5E5-13391B9CD323}" dt="2019-03-11T17:14:20.137" v="8688" actId="20577"/>
          <ac:spMkLst>
            <pc:docMk/>
            <pc:sldMk cId="2760168962" sldId="8546"/>
            <ac:spMk id="3" creationId="{EF15ECAB-3969-4B8A-AE02-7E0DDED390EC}"/>
          </ac:spMkLst>
        </pc:spChg>
      </pc:sldChg>
      <pc:sldChg chg="delSp modSp add del">
        <pc:chgData name="Delbert Murphy" userId="7a71e747-b122-47ea-b426-44ce2319c6d9" providerId="ADAL" clId="{B59EF993-394A-4AF1-B5E5-13391B9CD323}" dt="2019-03-11T18:36:44.539" v="9391" actId="2696"/>
        <pc:sldMkLst>
          <pc:docMk/>
          <pc:sldMk cId="3928955764" sldId="8547"/>
        </pc:sldMkLst>
        <pc:spChg chg="mod">
          <ac:chgData name="Delbert Murphy" userId="7a71e747-b122-47ea-b426-44ce2319c6d9" providerId="ADAL" clId="{B59EF993-394A-4AF1-B5E5-13391B9CD323}" dt="2019-03-11T17:28:33.692" v="8773" actId="20577"/>
          <ac:spMkLst>
            <pc:docMk/>
            <pc:sldMk cId="3928955764" sldId="8547"/>
            <ac:spMk id="2" creationId="{B5035455-2397-4B9D-ADE9-2D60CB7D4D0F}"/>
          </ac:spMkLst>
        </pc:spChg>
        <pc:spChg chg="del">
          <ac:chgData name="Delbert Murphy" userId="7a71e747-b122-47ea-b426-44ce2319c6d9" providerId="ADAL" clId="{B59EF993-394A-4AF1-B5E5-13391B9CD323}" dt="2019-03-11T17:28:41.500" v="8774" actId="478"/>
          <ac:spMkLst>
            <pc:docMk/>
            <pc:sldMk cId="3928955764" sldId="8547"/>
            <ac:spMk id="3" creationId="{CA995481-8B08-418A-8BC1-B84B981F3F59}"/>
          </ac:spMkLst>
        </pc:spChg>
      </pc:sldChg>
      <pc:sldChg chg="modSp add">
        <pc:chgData name="Delbert Murphy" userId="7a71e747-b122-47ea-b426-44ce2319c6d9" providerId="ADAL" clId="{B59EF993-394A-4AF1-B5E5-13391B9CD323}" dt="2019-03-11T17:35:46.229" v="9080" actId="20577"/>
        <pc:sldMkLst>
          <pc:docMk/>
          <pc:sldMk cId="3709600465" sldId="8548"/>
        </pc:sldMkLst>
        <pc:spChg chg="mod">
          <ac:chgData name="Delbert Murphy" userId="7a71e747-b122-47ea-b426-44ce2319c6d9" providerId="ADAL" clId="{B59EF993-394A-4AF1-B5E5-13391B9CD323}" dt="2019-03-11T17:31:24.552" v="8798" actId="20577"/>
          <ac:spMkLst>
            <pc:docMk/>
            <pc:sldMk cId="3709600465" sldId="8548"/>
            <ac:spMk id="2" creationId="{B3B426FC-E3C7-40F7-B547-694A0FA3B4DD}"/>
          </ac:spMkLst>
        </pc:spChg>
        <pc:spChg chg="mod">
          <ac:chgData name="Delbert Murphy" userId="7a71e747-b122-47ea-b426-44ce2319c6d9" providerId="ADAL" clId="{B59EF993-394A-4AF1-B5E5-13391B9CD323}" dt="2019-03-11T17:35:46.229" v="9080" actId="20577"/>
          <ac:spMkLst>
            <pc:docMk/>
            <pc:sldMk cId="3709600465" sldId="8548"/>
            <ac:spMk id="3" creationId="{EF15ECAB-3969-4B8A-AE02-7E0DDED390EC}"/>
          </ac:spMkLst>
        </pc:spChg>
      </pc:sldChg>
      <pc:sldChg chg="modSp">
        <pc:chgData name="Delbert Murphy" userId="7a71e747-b122-47ea-b426-44ce2319c6d9" providerId="ADAL" clId="{B59EF993-394A-4AF1-B5E5-13391B9CD323}" dt="2019-03-11T18:36:39.093" v="9390" actId="1037"/>
        <pc:sldMkLst>
          <pc:docMk/>
          <pc:sldMk cId="1156019372" sldId="9949"/>
        </pc:sldMkLst>
        <pc:spChg chg="mod">
          <ac:chgData name="Delbert Murphy" userId="7a71e747-b122-47ea-b426-44ce2319c6d9" providerId="ADAL" clId="{B59EF993-394A-4AF1-B5E5-13391B9CD323}" dt="2019-03-11T18:36:39.093" v="9390" actId="1037"/>
          <ac:spMkLst>
            <pc:docMk/>
            <pc:sldMk cId="1156019372" sldId="9949"/>
            <ac:spMk id="5" creationId="{F42903D1-09B4-435D-A714-B9FC613934AD}"/>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18-11-20T16:18:30.744" idx="6">
    <p:pos x="3412" y="2300"/>
    <p:text>[@Vivek Gupta], Hi Vivek, what does this VS icon means here.</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AB0577-4E0C-4998-86DA-B58DFB6C17BC}" type="datetimeFigureOut">
              <a:rPr lang="en-US" smtClean="0"/>
              <a:t>3/1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32EFCF-8B6D-4018-9F95-CBDEC69E0FF7}" type="slidenum">
              <a:rPr lang="en-US" smtClean="0"/>
              <a:t>‹#›</a:t>
            </a:fld>
            <a:endParaRPr lang="en-US"/>
          </a:p>
        </p:txBody>
      </p:sp>
    </p:spTree>
    <p:extLst>
      <p:ext uri="{BB962C8B-B14F-4D97-AF65-F5344CB8AC3E}">
        <p14:creationId xmlns:p14="http://schemas.microsoft.com/office/powerpoint/2010/main" val="2300841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2</a:t>
            </a:fld>
            <a:endParaRPr lang="en-US"/>
          </a:p>
        </p:txBody>
      </p:sp>
    </p:spTree>
    <p:extLst>
      <p:ext uri="{BB962C8B-B14F-4D97-AF65-F5344CB8AC3E}">
        <p14:creationId xmlns:p14="http://schemas.microsoft.com/office/powerpoint/2010/main" val="27450700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755B91-F2D3-4E81-97F6-CB91DBDA6B8B}" type="slidenum">
              <a:rPr lang="en-US" smtClean="0"/>
              <a:t>35</a:t>
            </a:fld>
            <a:endParaRPr lang="en-US"/>
          </a:p>
        </p:txBody>
      </p:sp>
    </p:spTree>
    <p:extLst>
      <p:ext uri="{BB962C8B-B14F-4D97-AF65-F5344CB8AC3E}">
        <p14:creationId xmlns:p14="http://schemas.microsoft.com/office/powerpoint/2010/main" val="2107974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C470E0-F101-4710-A121-DF6D0F7F257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8104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9F23E6A-3945-4101-B321-93EC5C297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694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019 11:0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543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3</a:t>
            </a:fld>
            <a:endParaRPr lang="en-US"/>
          </a:p>
        </p:txBody>
      </p:sp>
    </p:spTree>
    <p:extLst>
      <p:ext uri="{BB962C8B-B14F-4D97-AF65-F5344CB8AC3E}">
        <p14:creationId xmlns:p14="http://schemas.microsoft.com/office/powerpoint/2010/main" val="3242584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4</a:t>
            </a:fld>
            <a:endParaRPr lang="en-US"/>
          </a:p>
        </p:txBody>
      </p:sp>
    </p:spTree>
    <p:extLst>
      <p:ext uri="{BB962C8B-B14F-4D97-AF65-F5344CB8AC3E}">
        <p14:creationId xmlns:p14="http://schemas.microsoft.com/office/powerpoint/2010/main" val="2258075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5</a:t>
            </a:fld>
            <a:endParaRPr lang="en-US"/>
          </a:p>
        </p:txBody>
      </p:sp>
    </p:spTree>
    <p:extLst>
      <p:ext uri="{BB962C8B-B14F-4D97-AF65-F5344CB8AC3E}">
        <p14:creationId xmlns:p14="http://schemas.microsoft.com/office/powerpoint/2010/main" val="857916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6</a:t>
            </a:fld>
            <a:endParaRPr lang="en-US"/>
          </a:p>
        </p:txBody>
      </p:sp>
    </p:spTree>
    <p:extLst>
      <p:ext uri="{BB962C8B-B14F-4D97-AF65-F5344CB8AC3E}">
        <p14:creationId xmlns:p14="http://schemas.microsoft.com/office/powerpoint/2010/main" val="837888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32EFCF-8B6D-4018-9F95-CBDEC69E0FF7}" type="slidenum">
              <a:rPr lang="en-US" smtClean="0"/>
              <a:t>21</a:t>
            </a:fld>
            <a:endParaRPr lang="en-US"/>
          </a:p>
        </p:txBody>
      </p:sp>
    </p:spTree>
    <p:extLst>
      <p:ext uri="{BB962C8B-B14F-4D97-AF65-F5344CB8AC3E}">
        <p14:creationId xmlns:p14="http://schemas.microsoft.com/office/powerpoint/2010/main" val="3230447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95074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5893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5036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E4AB1-F8A1-4649-95A3-310FA342B2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7FFE0E3-C95C-43F7-B57A-B16A1C53D75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794C70-DA2C-4D26-A790-8F7281CF4C30}"/>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5" name="Footer Placeholder 4">
            <a:extLst>
              <a:ext uri="{FF2B5EF4-FFF2-40B4-BE49-F238E27FC236}">
                <a16:creationId xmlns:a16="http://schemas.microsoft.com/office/drawing/2014/main" id="{3FC2A9CD-7547-4A2D-ACA9-53A587A4FF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976422-90B3-4474-A950-57E958CEEBE4}"/>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5006710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E2C03-BE1F-462F-9D01-A477A37E6B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651D08-DC4B-4DC6-BD5B-04C8BEA53EF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D03469-EBEA-41F3-9026-78B5BB3758ED}"/>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5" name="Footer Placeholder 4">
            <a:extLst>
              <a:ext uri="{FF2B5EF4-FFF2-40B4-BE49-F238E27FC236}">
                <a16:creationId xmlns:a16="http://schemas.microsoft.com/office/drawing/2014/main" id="{38B91F61-5882-4B1A-83FD-00814F933F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17F765-4A16-4AFD-9439-F6E94CE87FE6}"/>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126106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05A9B1-D122-4DF8-A808-D6EF9C22892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A7D4ED-3FC9-476F-BECA-639AEE74CC4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3BA4A8-20D7-435D-B33F-8822C3CB87C0}"/>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5" name="Footer Placeholder 4">
            <a:extLst>
              <a:ext uri="{FF2B5EF4-FFF2-40B4-BE49-F238E27FC236}">
                <a16:creationId xmlns:a16="http://schemas.microsoft.com/office/drawing/2014/main" id="{275DFDDF-E076-4EB2-8A1B-B3427EFDEC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EC43D3-F0A6-4F13-A935-44222AAD6B52}"/>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3440932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2483324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0376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9334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63497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6399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504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86648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184683"/>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9121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0033A-D1E3-4F6E-A2BA-38D1A53CC2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73ACD2-2186-4A79-A6E3-0435CB65F6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C9D4B0-8BFE-4572-9147-F4B331E11A49}"/>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5" name="Footer Placeholder 4">
            <a:extLst>
              <a:ext uri="{FF2B5EF4-FFF2-40B4-BE49-F238E27FC236}">
                <a16:creationId xmlns:a16="http://schemas.microsoft.com/office/drawing/2014/main" id="{F8B51DA9-0AAC-4C97-9885-A04E327B4B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4FCD72-330D-4D36-BBFD-C3593770C451}"/>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6221103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019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20726851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7462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48428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78503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51709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81936-17E0-4CFE-801D-35BC1FF262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A01F7B-9993-4841-8376-9C8B625641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EAE572D-9937-4B44-A9D7-9BD5045BE2A3}"/>
              </a:ext>
            </a:extLst>
          </p:cNvPr>
          <p:cNvSpPr>
            <a:spLocks noGrp="1"/>
          </p:cNvSpPr>
          <p:nvPr>
            <p:ph type="dt" sz="half" idx="10"/>
          </p:nvPr>
        </p:nvSpPr>
        <p:spPr/>
        <p:txBody>
          <a:bodyPr/>
          <a:lstStyle/>
          <a:p>
            <a:fld id="{F3417FE7-854E-46CE-9B38-36345BA24777}" type="datetimeFigureOut">
              <a:rPr lang="en-US" smtClean="0"/>
              <a:t>3/11/2019</a:t>
            </a:fld>
            <a:endParaRPr lang="en-US"/>
          </a:p>
        </p:txBody>
      </p:sp>
      <p:sp>
        <p:nvSpPr>
          <p:cNvPr id="5" name="Footer Placeholder 4">
            <a:extLst>
              <a:ext uri="{FF2B5EF4-FFF2-40B4-BE49-F238E27FC236}">
                <a16:creationId xmlns:a16="http://schemas.microsoft.com/office/drawing/2014/main" id="{B7874E99-4D1B-4FC5-8673-C38639FBD2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5D34D9-E904-4459-B337-30DB4F10D25E}"/>
              </a:ext>
            </a:extLst>
          </p:cNvPr>
          <p:cNvSpPr>
            <a:spLocks noGrp="1"/>
          </p:cNvSpPr>
          <p:nvPr>
            <p:ph type="sldNum" sz="quarter" idx="12"/>
          </p:nvPr>
        </p:nvSpPr>
        <p:spPr/>
        <p:txBody>
          <a:bodyPr/>
          <a:lstStyle/>
          <a:p>
            <a:fld id="{2BAC631C-44AE-414D-91BA-7E567AA8483D}" type="slidenum">
              <a:rPr lang="en-US" smtClean="0"/>
              <a:t>‹#›</a:t>
            </a:fld>
            <a:endParaRPr lang="en-US"/>
          </a:p>
        </p:txBody>
      </p:sp>
    </p:spTree>
    <p:extLst>
      <p:ext uri="{BB962C8B-B14F-4D97-AF65-F5344CB8AC3E}">
        <p14:creationId xmlns:p14="http://schemas.microsoft.com/office/powerpoint/2010/main" val="776724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12513027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585484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90607048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4B1EF-7E0D-4F10-9BCA-9C8DFB2E00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14CEF2-7DDF-405C-93B5-E54E5B0C637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B16076-3261-4E5D-910B-754D8022D05E}"/>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5" name="Footer Placeholder 4">
            <a:extLst>
              <a:ext uri="{FF2B5EF4-FFF2-40B4-BE49-F238E27FC236}">
                <a16:creationId xmlns:a16="http://schemas.microsoft.com/office/drawing/2014/main" id="{53BD2AB6-8F7B-428F-946C-5CEED38B75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132EAF-6F7B-45F5-9402-57B13ACC6574}"/>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3665116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429424784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3" y="1011238"/>
            <a:ext cx="11020425" cy="276999"/>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Edit Master text styles</a:t>
            </a:r>
          </a:p>
        </p:txBody>
      </p:sp>
      <p:sp>
        <p:nvSpPr>
          <p:cNvPr id="9" name="Text Placeholder 8">
            <a:extLst>
              <a:ext uri="{FF2B5EF4-FFF2-40B4-BE49-F238E27FC236}">
                <a16:creationId xmlns:a16="http://schemas.microsoft.com/office/drawing/2014/main" id="{C176A965-0A09-4509-A75F-D069922D6601}"/>
              </a:ext>
            </a:extLst>
          </p:cNvPr>
          <p:cNvSpPr>
            <a:spLocks noGrp="1"/>
          </p:cNvSpPr>
          <p:nvPr>
            <p:ph type="body" sz="quarter" idx="17"/>
          </p:nvPr>
        </p:nvSpPr>
        <p:spPr>
          <a:xfrm>
            <a:off x="1221142" y="3029239"/>
            <a:ext cx="2743200" cy="307777"/>
          </a:xfrm>
        </p:spPr>
        <p:txBody>
          <a:bodyPr/>
          <a:lstStyle>
            <a:lvl1pPr marL="0" indent="0" algn="ctr">
              <a:spcBef>
                <a:spcPts val="0"/>
              </a:spcBef>
              <a:buNone/>
              <a:defRPr sz="2000">
                <a:solidFill>
                  <a:schemeClr val="accent1"/>
                </a:solidFill>
                <a:latin typeface="+mn-lt"/>
              </a:defRPr>
            </a:lvl1pPr>
            <a:lvl2pPr marL="0" indent="0" algn="ctr">
              <a:spcBef>
                <a:spcPts val="0"/>
              </a:spcBef>
              <a:buNone/>
              <a:defRPr sz="16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p:txBody>
      </p:sp>
      <p:sp>
        <p:nvSpPr>
          <p:cNvPr id="10" name="Text Placeholder 8">
            <a:extLst>
              <a:ext uri="{FF2B5EF4-FFF2-40B4-BE49-F238E27FC236}">
                <a16:creationId xmlns:a16="http://schemas.microsoft.com/office/drawing/2014/main" id="{8B225439-48A6-4564-B467-20E78B8EC8AD}"/>
              </a:ext>
            </a:extLst>
          </p:cNvPr>
          <p:cNvSpPr>
            <a:spLocks noGrp="1"/>
          </p:cNvSpPr>
          <p:nvPr>
            <p:ph type="body" sz="quarter" idx="18"/>
          </p:nvPr>
        </p:nvSpPr>
        <p:spPr>
          <a:xfrm>
            <a:off x="4569349" y="3029239"/>
            <a:ext cx="2743200" cy="307777"/>
          </a:xfrm>
        </p:spPr>
        <p:txBody>
          <a:bodyPr/>
          <a:lstStyle>
            <a:lvl1pPr marL="0" indent="0" algn="ctr">
              <a:spcBef>
                <a:spcPts val="0"/>
              </a:spcBef>
              <a:buNone/>
              <a:defRPr sz="2000">
                <a:solidFill>
                  <a:schemeClr val="accent1"/>
                </a:solidFill>
                <a:latin typeface="+mn-lt"/>
              </a:defRPr>
            </a:lvl1pPr>
            <a:lvl2pPr marL="0" indent="0" algn="ctr">
              <a:spcBef>
                <a:spcPts val="0"/>
              </a:spcBef>
              <a:buNone/>
              <a:defRPr sz="16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p:txBody>
      </p:sp>
      <p:sp>
        <p:nvSpPr>
          <p:cNvPr id="12" name="Text Placeholder 8">
            <a:extLst>
              <a:ext uri="{FF2B5EF4-FFF2-40B4-BE49-F238E27FC236}">
                <a16:creationId xmlns:a16="http://schemas.microsoft.com/office/drawing/2014/main" id="{9A540805-6117-4E52-B712-8A1B742727CA}"/>
              </a:ext>
            </a:extLst>
          </p:cNvPr>
          <p:cNvSpPr>
            <a:spLocks noGrp="1"/>
          </p:cNvSpPr>
          <p:nvPr>
            <p:ph type="body" sz="quarter" idx="20"/>
          </p:nvPr>
        </p:nvSpPr>
        <p:spPr>
          <a:xfrm>
            <a:off x="7916848" y="3029239"/>
            <a:ext cx="2743200" cy="307777"/>
          </a:xfrm>
        </p:spPr>
        <p:txBody>
          <a:bodyPr/>
          <a:lstStyle>
            <a:lvl1pPr marL="0" indent="0" algn="ctr">
              <a:spcBef>
                <a:spcPts val="0"/>
              </a:spcBef>
              <a:buNone/>
              <a:defRPr sz="2000">
                <a:solidFill>
                  <a:schemeClr val="accent1"/>
                </a:solidFill>
                <a:latin typeface="+mn-lt"/>
              </a:defRPr>
            </a:lvl1pPr>
            <a:lvl2pPr marL="0" indent="0" algn="ctr">
              <a:spcBef>
                <a:spcPts val="0"/>
              </a:spcBef>
              <a:buNone/>
              <a:defRPr sz="16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p:txBody>
      </p:sp>
      <p:sp>
        <p:nvSpPr>
          <p:cNvPr id="13" name="Text Placeholder 8">
            <a:extLst>
              <a:ext uri="{FF2B5EF4-FFF2-40B4-BE49-F238E27FC236}">
                <a16:creationId xmlns:a16="http://schemas.microsoft.com/office/drawing/2014/main" id="{3221CD37-8AA4-4A2C-B504-84E0358EAE7F}"/>
              </a:ext>
            </a:extLst>
          </p:cNvPr>
          <p:cNvSpPr>
            <a:spLocks noGrp="1"/>
          </p:cNvSpPr>
          <p:nvPr>
            <p:ph type="body" sz="quarter" idx="21"/>
          </p:nvPr>
        </p:nvSpPr>
        <p:spPr>
          <a:xfrm>
            <a:off x="1221142" y="3495840"/>
            <a:ext cx="2743200" cy="492443"/>
          </a:xfrm>
        </p:spPr>
        <p:txBody>
          <a:bodyPr/>
          <a:lstStyle>
            <a:lvl1pPr marL="0" indent="0" algn="ctr">
              <a:spcBef>
                <a:spcPts val="0"/>
              </a:spcBef>
              <a:buNone/>
              <a:defRPr sz="1800">
                <a:solidFill>
                  <a:schemeClr val="tx1"/>
                </a:solidFill>
                <a:latin typeface="+mn-lt"/>
              </a:defRPr>
            </a:lvl1pPr>
            <a:lvl2pPr marL="0" indent="0" algn="ctr">
              <a:spcBef>
                <a:spcPts val="0"/>
              </a:spcBef>
              <a:buNone/>
              <a:defRPr sz="14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a:p>
            <a:pPr lvl="1"/>
            <a:r>
              <a:rPr lang="en-US"/>
              <a:t>Second level</a:t>
            </a:r>
          </a:p>
        </p:txBody>
      </p:sp>
      <p:sp>
        <p:nvSpPr>
          <p:cNvPr id="14" name="Text Placeholder 8">
            <a:extLst>
              <a:ext uri="{FF2B5EF4-FFF2-40B4-BE49-F238E27FC236}">
                <a16:creationId xmlns:a16="http://schemas.microsoft.com/office/drawing/2014/main" id="{A152B689-2031-40C0-855A-633825952C9A}"/>
              </a:ext>
            </a:extLst>
          </p:cNvPr>
          <p:cNvSpPr>
            <a:spLocks noGrp="1"/>
          </p:cNvSpPr>
          <p:nvPr>
            <p:ph type="body" sz="quarter" idx="22"/>
          </p:nvPr>
        </p:nvSpPr>
        <p:spPr>
          <a:xfrm>
            <a:off x="4569349" y="3495840"/>
            <a:ext cx="2743200" cy="492443"/>
          </a:xfrm>
        </p:spPr>
        <p:txBody>
          <a:bodyPr/>
          <a:lstStyle>
            <a:lvl1pPr marL="0" indent="0" algn="ctr">
              <a:spcBef>
                <a:spcPts val="0"/>
              </a:spcBef>
              <a:buNone/>
              <a:defRPr sz="1800">
                <a:solidFill>
                  <a:schemeClr val="tx1"/>
                </a:solidFill>
                <a:latin typeface="+mn-lt"/>
              </a:defRPr>
            </a:lvl1pPr>
            <a:lvl2pPr marL="0" indent="0" algn="ctr">
              <a:spcBef>
                <a:spcPts val="0"/>
              </a:spcBef>
              <a:buNone/>
              <a:defRPr sz="14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a:p>
            <a:pPr lvl="1"/>
            <a:r>
              <a:rPr lang="en-US"/>
              <a:t>Second level</a:t>
            </a:r>
          </a:p>
        </p:txBody>
      </p:sp>
      <p:sp>
        <p:nvSpPr>
          <p:cNvPr id="15" name="Text Placeholder 8">
            <a:extLst>
              <a:ext uri="{FF2B5EF4-FFF2-40B4-BE49-F238E27FC236}">
                <a16:creationId xmlns:a16="http://schemas.microsoft.com/office/drawing/2014/main" id="{B6F48164-900E-456F-BEA4-C8EF3036E983}"/>
              </a:ext>
            </a:extLst>
          </p:cNvPr>
          <p:cNvSpPr>
            <a:spLocks noGrp="1"/>
          </p:cNvSpPr>
          <p:nvPr>
            <p:ph type="body" sz="quarter" idx="23"/>
          </p:nvPr>
        </p:nvSpPr>
        <p:spPr>
          <a:xfrm>
            <a:off x="7916848" y="3495840"/>
            <a:ext cx="2743200" cy="492443"/>
          </a:xfrm>
        </p:spPr>
        <p:txBody>
          <a:bodyPr/>
          <a:lstStyle>
            <a:lvl1pPr marL="0" indent="0" algn="ctr">
              <a:spcBef>
                <a:spcPts val="0"/>
              </a:spcBef>
              <a:buNone/>
              <a:defRPr sz="1800">
                <a:solidFill>
                  <a:schemeClr val="tx1"/>
                </a:solidFill>
                <a:latin typeface="+mn-lt"/>
              </a:defRPr>
            </a:lvl1pPr>
            <a:lvl2pPr marL="0" indent="0" algn="ctr">
              <a:spcBef>
                <a:spcPts val="0"/>
              </a:spcBef>
              <a:buNone/>
              <a:defRPr sz="14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a:p>
            <a:pPr lvl="1"/>
            <a:r>
              <a:rPr lang="en-US"/>
              <a:t>Second level</a:t>
            </a:r>
          </a:p>
        </p:txBody>
      </p:sp>
      <p:cxnSp>
        <p:nvCxnSpPr>
          <p:cNvPr id="16" name="Straight Connector 15">
            <a:extLst>
              <a:ext uri="{FF2B5EF4-FFF2-40B4-BE49-F238E27FC236}">
                <a16:creationId xmlns:a16="http://schemas.microsoft.com/office/drawing/2014/main" id="{D8E2BA2E-AD1E-42AD-936A-B9C3A8FD276A}"/>
              </a:ext>
            </a:extLst>
          </p:cNvPr>
          <p:cNvCxnSpPr>
            <a:cxnSpLocks/>
          </p:cNvCxnSpPr>
          <p:nvPr userDrawn="1"/>
        </p:nvCxnSpPr>
        <p:spPr>
          <a:xfrm>
            <a:off x="8740508" y="3438297"/>
            <a:ext cx="1206873" cy="0"/>
          </a:xfrm>
          <a:prstGeom prst="line">
            <a:avLst/>
          </a:prstGeom>
          <a:ln w="127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FB20D98-186C-4CFC-B33D-38AB91A163D9}"/>
              </a:ext>
            </a:extLst>
          </p:cNvPr>
          <p:cNvCxnSpPr>
            <a:cxnSpLocks/>
          </p:cNvCxnSpPr>
          <p:nvPr userDrawn="1"/>
        </p:nvCxnSpPr>
        <p:spPr>
          <a:xfrm>
            <a:off x="5492563" y="3441028"/>
            <a:ext cx="1206873" cy="0"/>
          </a:xfrm>
          <a:prstGeom prst="line">
            <a:avLst/>
          </a:prstGeom>
          <a:ln w="127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6DD518-08A3-4FFD-BD76-2F67DD5E5F4D}"/>
              </a:ext>
            </a:extLst>
          </p:cNvPr>
          <p:cNvCxnSpPr>
            <a:cxnSpLocks/>
          </p:cNvCxnSpPr>
          <p:nvPr userDrawn="1"/>
        </p:nvCxnSpPr>
        <p:spPr>
          <a:xfrm>
            <a:off x="2002904" y="3442310"/>
            <a:ext cx="1206873" cy="0"/>
          </a:xfrm>
          <a:prstGeom prst="line">
            <a:avLst/>
          </a:prstGeom>
          <a:ln w="127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580800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152688794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07778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12192000" cy="1232898"/>
          </a:xfrm>
        </p:spPr>
        <p:txBody>
          <a:bodyPr lIns="393192" tIns="393192" bIns="91440">
            <a:normAutofit/>
          </a:bodyPr>
          <a:lstStyle>
            <a:lvl1pPr marL="0" indent="0">
              <a:buNone/>
              <a:defRPr sz="4314">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9066309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4412676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DEEB7-8597-46A9-86A5-0C52CC7C4E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77F56C8-4E75-4BA9-ACA4-CD53214A0A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DCADCD3-2C9E-4643-AEB9-C805B357608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21D1222-1068-43BD-BE15-FE2E7CA93E58}"/>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6" name="Footer Placeholder 5">
            <a:extLst>
              <a:ext uri="{FF2B5EF4-FFF2-40B4-BE49-F238E27FC236}">
                <a16:creationId xmlns:a16="http://schemas.microsoft.com/office/drawing/2014/main" id="{75F625A6-3DC9-446B-8536-06F4FF897F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B9FE63-FBB0-4568-BE7D-5313F12FEF37}"/>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193336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DACB9-A119-42ED-92E8-B32EFDE1A8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C5277C8-0A6A-4EAB-90CB-BEE9E79A46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4A5172E-87F5-420A-B4B7-4A77DDDCE3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513FDF-92B1-4295-9B90-362615E99A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553CD39-404D-4E8D-BB5B-AB11B60A8BA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EC25967-C6C6-4E4D-BB78-F8512957ABCD}"/>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8" name="Footer Placeholder 7">
            <a:extLst>
              <a:ext uri="{FF2B5EF4-FFF2-40B4-BE49-F238E27FC236}">
                <a16:creationId xmlns:a16="http://schemas.microsoft.com/office/drawing/2014/main" id="{29640523-6382-41E3-9CE9-B859B0D0D2E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0957C1-3A4A-4396-A877-970C8AA3EAF3}"/>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459038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6E96A-B03E-44AF-9659-3992E790AC1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B4A150-746C-4026-A914-4068E0929EA6}"/>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4" name="Footer Placeholder 3">
            <a:extLst>
              <a:ext uri="{FF2B5EF4-FFF2-40B4-BE49-F238E27FC236}">
                <a16:creationId xmlns:a16="http://schemas.microsoft.com/office/drawing/2014/main" id="{9EAB4750-D742-4968-BB88-DC12B7D657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E2B23EF-F93B-406F-AEC7-AF45F6233946}"/>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894646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D746CE6-710E-4C4C-A96D-E81C16213A34}"/>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3" name="Footer Placeholder 2">
            <a:extLst>
              <a:ext uri="{FF2B5EF4-FFF2-40B4-BE49-F238E27FC236}">
                <a16:creationId xmlns:a16="http://schemas.microsoft.com/office/drawing/2014/main" id="{6C7C83B6-67DA-473B-B954-083A4C8F3A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AC0CB0D-ECFE-4F90-8B7D-A42EA98623AA}"/>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633129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10498-261C-4A32-9372-2F25D4BE1F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664D29-08C8-4954-BE16-9774507647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4F4FF1-9E4B-4975-9B25-41F17039BF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C4F13E-0FEB-465F-A9A8-FE57637EFED8}"/>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6" name="Footer Placeholder 5">
            <a:extLst>
              <a:ext uri="{FF2B5EF4-FFF2-40B4-BE49-F238E27FC236}">
                <a16:creationId xmlns:a16="http://schemas.microsoft.com/office/drawing/2014/main" id="{E9DDD33E-4E2A-41B9-9BE6-E404176774C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C48F60-BA3D-4EC7-901C-FED3A3FE1D4B}"/>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521368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6B629-8927-4CF3-9391-1DF54A6D57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9D37AF-B3AA-46AC-93C7-74BDC171CC1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080C9A-41A7-4D68-A6DD-89F14ED75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070301-BEF1-4EBA-A84D-97A60F72E60F}"/>
              </a:ext>
            </a:extLst>
          </p:cNvPr>
          <p:cNvSpPr>
            <a:spLocks noGrp="1"/>
          </p:cNvSpPr>
          <p:nvPr>
            <p:ph type="dt" sz="half" idx="10"/>
          </p:nvPr>
        </p:nvSpPr>
        <p:spPr/>
        <p:txBody>
          <a:bodyPr/>
          <a:lstStyle/>
          <a:p>
            <a:fld id="{1DA4EA02-70FA-4BEC-8339-F2FCEA4D305A}" type="datetimeFigureOut">
              <a:rPr lang="en-US" smtClean="0"/>
              <a:t>3/11/2019</a:t>
            </a:fld>
            <a:endParaRPr lang="en-US"/>
          </a:p>
        </p:txBody>
      </p:sp>
      <p:sp>
        <p:nvSpPr>
          <p:cNvPr id="6" name="Footer Placeholder 5">
            <a:extLst>
              <a:ext uri="{FF2B5EF4-FFF2-40B4-BE49-F238E27FC236}">
                <a16:creationId xmlns:a16="http://schemas.microsoft.com/office/drawing/2014/main" id="{2CF68201-73AD-4364-9E66-BC956B4CB6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2B4CDD-9CDB-4350-9D56-8822EF7862E9}"/>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38925665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image" Target="../media/image1.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9CD44A-D7AC-4830-A6BC-370D306769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6ADAEDC-1B7B-469F-82EA-1EAC261A2F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8BF80D-E37D-45EE-B516-B02CFEC0D43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A4EA02-70FA-4BEC-8339-F2FCEA4D305A}" type="datetimeFigureOut">
              <a:rPr lang="en-US" smtClean="0"/>
              <a:t>3/11/2019</a:t>
            </a:fld>
            <a:endParaRPr lang="en-US"/>
          </a:p>
        </p:txBody>
      </p:sp>
      <p:sp>
        <p:nvSpPr>
          <p:cNvPr id="5" name="Footer Placeholder 4">
            <a:extLst>
              <a:ext uri="{FF2B5EF4-FFF2-40B4-BE49-F238E27FC236}">
                <a16:creationId xmlns:a16="http://schemas.microsoft.com/office/drawing/2014/main" id="{E9C23C52-04FE-4DBC-A38F-DBDD60ACB4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7C0FD1A-1B8E-44A2-82C7-0D57EFE46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85A4AE-CE4D-43B4-B66E-9584C5B02BAE}" type="slidenum">
              <a:rPr lang="en-US" smtClean="0"/>
              <a:t>‹#›</a:t>
            </a:fld>
            <a:endParaRPr lang="en-US"/>
          </a:p>
        </p:txBody>
      </p:sp>
    </p:spTree>
    <p:extLst>
      <p:ext uri="{BB962C8B-B14F-4D97-AF65-F5344CB8AC3E}">
        <p14:creationId xmlns:p14="http://schemas.microsoft.com/office/powerpoint/2010/main" val="11534571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36392411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dsvm.ip:8000/"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s://docs.microsoft.com/en-us/azure/machine-learning/service/how-to-transform-data"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machine-learning/service/how-to-enable-data-collection" TargetMode="External"/><Relationship Id="rId2" Type="http://schemas.openxmlformats.org/officeDocument/2006/relationships/hyperlink" Target="https://docs.microsoft.com/en-us/azure/machine-learning/service/how-to-enable-app-insights"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docs.microsoft.com/en-us/azure/machine-learning/service/concept-azure-machine-learning-architecture" TargetMode="Externa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docs.databricks.com/_static/notebooks/getting-started/popvspricelr.html" TargetMode="External"/><Relationship Id="rId2" Type="http://schemas.openxmlformats.org/officeDocument/2006/relationships/hyperlink" Target="https://docs.azuredatabricks.net/_static/notebooks/getting-started/quickstartusingpython.html" TargetMode="Externa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hyperlink" Target="https://docs.azuredatabricks.net/_static/notebooks/mleap-model-export-demo-python.html" TargetMode="External"/><Relationship Id="rId4" Type="http://schemas.openxmlformats.org/officeDocument/2006/relationships/hyperlink" Target="https://github.com/delbert/azml/blob/master/ip21.dbc"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databricks.com/blog/2016/07/14/a-tale-of-three-apache-spark-apis-rdds-dataframes-and-datasets.htm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github.com/Azure/mmlspark/" TargetMode="External"/><Relationship Id="rId2" Type="http://schemas.openxmlformats.org/officeDocument/2006/relationships/hyperlink" Target="http://aka.ms/spark"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github.com/Azure/azure-cosmosdb-spark#using-databricks-notebooks" TargetMode="Externa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svg"/></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www.ailab.microsoft.com/experiments/7d6b0652-51dc-440d-a12a-481f28525143" TargetMode="External"/><Relationship Id="rId1" Type="http://schemas.openxmlformats.org/officeDocument/2006/relationships/slideLayout" Target="../slideLayouts/slideLayout7.xml"/><Relationship Id="rId4" Type="http://schemas.openxmlformats.org/officeDocument/2006/relationships/hyperlink" Target="https://jfk-demo.azurewebsites.net/"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customvision.ai/" TargetMode="Externa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32.xml.rels><?xml version="1.0" encoding="UTF-8" standalone="yes"?>
<Relationships xmlns="http://schemas.openxmlformats.org/package/2006/relationships"><Relationship Id="rId2" Type="http://schemas.openxmlformats.org/officeDocument/2006/relationships/hyperlink" Target="https://azure.microsoft.com/en-us/services/cognitive-services/computer-vision/"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aka.ms/tdsp" TargetMode="External"/><Relationship Id="rId5" Type="http://schemas.openxmlformats.org/officeDocument/2006/relationships/image" Target="../media/image29.png"/><Relationship Id="rId4" Type="http://schemas.openxmlformats.org/officeDocument/2006/relationships/image" Target="../media/image28.png"/></Relationships>
</file>

<file path=ppt/slides/_rels/slide3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4.xml"/><Relationship Id="rId7" Type="http://schemas.openxmlformats.org/officeDocument/2006/relationships/notesSlide" Target="../notesSlides/notesSlide1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5.xml"/><Relationship Id="rId5" Type="http://schemas.openxmlformats.org/officeDocument/2006/relationships/tags" Target="../tags/tag6.xml"/><Relationship Id="rId4" Type="http://schemas.openxmlformats.org/officeDocument/2006/relationships/tags" Target="../tags/tag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comments" Target="../comments/comment1.xml"/><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tiff"/><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41.tiff"/><Relationship Id="rId11" Type="http://schemas.openxmlformats.org/officeDocument/2006/relationships/image" Target="../media/image46.tiff"/><Relationship Id="rId5" Type="http://schemas.openxmlformats.org/officeDocument/2006/relationships/image" Target="../media/image40.tiff"/><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21.xml"/><Relationship Id="rId4" Type="http://schemas.openxmlformats.org/officeDocument/2006/relationships/image" Target="../media/image50.png"/></Relationships>
</file>

<file path=ppt/slides/_rels/slide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github.com/delbert/azml"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CD726-51A3-42AA-86A6-BB33AB865991}"/>
              </a:ext>
            </a:extLst>
          </p:cNvPr>
          <p:cNvSpPr>
            <a:spLocks noGrp="1"/>
          </p:cNvSpPr>
          <p:nvPr>
            <p:ph type="ctrTitle"/>
          </p:nvPr>
        </p:nvSpPr>
        <p:spPr>
          <a:xfrm>
            <a:off x="0" y="868362"/>
            <a:ext cx="9144000" cy="2387600"/>
          </a:xfrm>
        </p:spPr>
        <p:txBody>
          <a:bodyPr>
            <a:normAutofit/>
          </a:bodyPr>
          <a:lstStyle/>
          <a:p>
            <a:pPr algn="l"/>
            <a:r>
              <a:rPr lang="en-US" dirty="0"/>
              <a:t>Machine Learning in Azure</a:t>
            </a:r>
            <a:br>
              <a:rPr lang="en-US" dirty="0"/>
            </a:br>
            <a:endParaRPr lang="en-US" dirty="0"/>
          </a:p>
        </p:txBody>
      </p:sp>
    </p:spTree>
    <p:extLst>
      <p:ext uri="{BB962C8B-B14F-4D97-AF65-F5344CB8AC3E}">
        <p14:creationId xmlns:p14="http://schemas.microsoft.com/office/powerpoint/2010/main" val="26009917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80830"/>
          </a:xfrm>
        </p:spPr>
        <p:txBody>
          <a:bodyPr>
            <a:normAutofit fontScale="90000"/>
          </a:bodyPr>
          <a:lstStyle/>
          <a:p>
            <a:r>
              <a:rPr lang="en-US" dirty="0"/>
              <a:t>Setting up Azure Machine Learning service</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680831"/>
            <a:ext cx="10515600" cy="4351338"/>
          </a:xfrm>
        </p:spPr>
        <p:txBody>
          <a:bodyPr/>
          <a:lstStyle/>
          <a:p>
            <a:r>
              <a:rPr lang="en-US" dirty="0"/>
              <a:t>Create </a:t>
            </a:r>
            <a:r>
              <a:rPr lang="en-US" dirty="0" err="1"/>
              <a:t>AzureML</a:t>
            </a:r>
            <a:r>
              <a:rPr lang="en-US" dirty="0"/>
              <a:t> workspace in Azure portal</a:t>
            </a:r>
          </a:p>
          <a:p>
            <a:pPr lvl="1"/>
            <a:r>
              <a:rPr lang="en-US" dirty="0"/>
              <a:t>Create Resource Group:  </a:t>
            </a:r>
            <a:r>
              <a:rPr lang="en-US" b="1" i="1" dirty="0"/>
              <a:t>initials</a:t>
            </a:r>
            <a:r>
              <a:rPr lang="en-US" dirty="0"/>
              <a:t> + </a:t>
            </a:r>
            <a:r>
              <a:rPr lang="en-US" dirty="0" err="1"/>
              <a:t>Mlws</a:t>
            </a:r>
            <a:endParaRPr lang="en-US" dirty="0"/>
          </a:p>
          <a:p>
            <a:pPr lvl="1"/>
            <a:r>
              <a:rPr lang="en-US" dirty="0"/>
              <a:t>Create Workspace:  initials + Workspace</a:t>
            </a:r>
          </a:p>
          <a:p>
            <a:r>
              <a:rPr lang="en-US" dirty="0"/>
              <a:t>Create DSVM (let’s all do Windows 2016)</a:t>
            </a:r>
          </a:p>
          <a:p>
            <a:pPr lvl="1"/>
            <a:r>
              <a:rPr lang="en-US" dirty="0"/>
              <a:t>Resource Group:  </a:t>
            </a:r>
            <a:r>
              <a:rPr lang="en-US" b="1" i="1" dirty="0"/>
              <a:t>initials</a:t>
            </a:r>
            <a:r>
              <a:rPr lang="en-US" dirty="0"/>
              <a:t> + DSVM</a:t>
            </a:r>
          </a:p>
          <a:p>
            <a:pPr lvl="1"/>
            <a:r>
              <a:rPr lang="en-US" dirty="0"/>
              <a:t>VM:  </a:t>
            </a:r>
            <a:r>
              <a:rPr lang="en-US" b="1" i="1" dirty="0"/>
              <a:t>initials</a:t>
            </a:r>
            <a:r>
              <a:rPr lang="en-US" dirty="0"/>
              <a:t> + DSVM</a:t>
            </a:r>
          </a:p>
          <a:p>
            <a:pPr lvl="1"/>
            <a:r>
              <a:rPr lang="en-US" dirty="0"/>
              <a:t>After VM is created, create a DNS name:  </a:t>
            </a:r>
            <a:r>
              <a:rPr lang="en-US" b="1" i="1" dirty="0"/>
              <a:t>initials</a:t>
            </a:r>
            <a:r>
              <a:rPr lang="en-US" dirty="0"/>
              <a:t> + DSVM</a:t>
            </a:r>
          </a:p>
        </p:txBody>
      </p:sp>
    </p:spTree>
    <p:extLst>
      <p:ext uri="{BB962C8B-B14F-4D97-AF65-F5344CB8AC3E}">
        <p14:creationId xmlns:p14="http://schemas.microsoft.com/office/powerpoint/2010/main" val="13795407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Setting up Azure ML - DSVM / Linux</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normAutofit fontScale="92500" lnSpcReduction="10000"/>
          </a:bodyPr>
          <a:lstStyle/>
          <a:p>
            <a:pPr marL="0" indent="0">
              <a:buNone/>
            </a:pPr>
            <a:r>
              <a:rPr lang="en-US" dirty="0">
                <a:effectLst/>
              </a:rPr>
              <a:t>In </a:t>
            </a:r>
            <a:r>
              <a:rPr lang="en-US" dirty="0" err="1">
                <a:effectLst/>
              </a:rPr>
              <a:t>JupyterHub</a:t>
            </a:r>
            <a:r>
              <a:rPr lang="en-US" dirty="0">
                <a:effectLst/>
              </a:rPr>
              <a:t> (</a:t>
            </a:r>
            <a:r>
              <a:rPr lang="en-US" dirty="0">
                <a:effectLst/>
                <a:hlinkClick r:id="rId2"/>
              </a:rPr>
              <a:t>https://dsvm.ip:8000</a:t>
            </a:r>
            <a:r>
              <a:rPr lang="en-US" dirty="0">
                <a:effectLst/>
              </a:rPr>
              <a:t>)  / terminal</a:t>
            </a:r>
          </a:p>
          <a:p>
            <a:pPr marL="0" indent="0">
              <a:buNone/>
            </a:pPr>
            <a:r>
              <a:rPr lang="en-US" sz="2000" dirty="0">
                <a:effectLst/>
              </a:rPr>
              <a:t>cd notebooks </a:t>
            </a:r>
          </a:p>
          <a:p>
            <a:pPr marL="0" indent="0">
              <a:buNone/>
            </a:pPr>
            <a:r>
              <a:rPr lang="en-US" sz="2000" dirty="0">
                <a:effectLst/>
              </a:rPr>
              <a:t>git clone https://github.com/Azure/MachineLearningNotebooks.git </a:t>
            </a:r>
          </a:p>
          <a:p>
            <a:pPr marL="0" indent="0">
              <a:buNone/>
            </a:pPr>
            <a:r>
              <a:rPr lang="en-US" sz="2000" dirty="0">
                <a:effectLst/>
              </a:rPr>
              <a:t>cd ... </a:t>
            </a:r>
          </a:p>
          <a:p>
            <a:pPr marL="0" indent="0">
              <a:buNone/>
            </a:pPr>
            <a:r>
              <a:rPr lang="en-US" sz="2000" dirty="0">
                <a:effectLst/>
              </a:rPr>
              <a:t>/data/anaconda/bin/</a:t>
            </a:r>
            <a:r>
              <a:rPr lang="en-US" sz="2000" dirty="0" err="1">
                <a:effectLst/>
              </a:rPr>
              <a:t>conda</a:t>
            </a:r>
            <a:r>
              <a:rPr lang="en-US" sz="2000" dirty="0">
                <a:effectLst/>
              </a:rPr>
              <a:t> create -y -n </a:t>
            </a:r>
            <a:r>
              <a:rPr lang="en-US" sz="2000" dirty="0" err="1">
                <a:effectLst/>
              </a:rPr>
              <a:t>aml</a:t>
            </a:r>
            <a:r>
              <a:rPr lang="en-US" sz="2000" dirty="0">
                <a:effectLst/>
              </a:rPr>
              <a:t> Python=3.6 </a:t>
            </a:r>
          </a:p>
          <a:p>
            <a:pPr marL="0" indent="0">
              <a:buNone/>
            </a:pPr>
            <a:r>
              <a:rPr lang="en-US" sz="2000" dirty="0">
                <a:effectLst/>
              </a:rPr>
              <a:t>source /data/anaconda/bin/activate </a:t>
            </a:r>
            <a:r>
              <a:rPr lang="en-US" sz="2000" dirty="0" err="1">
                <a:effectLst/>
              </a:rPr>
              <a:t>aml</a:t>
            </a:r>
            <a:r>
              <a:rPr lang="en-US" sz="2000" dirty="0">
                <a:effectLst/>
              </a:rPr>
              <a:t> </a:t>
            </a:r>
          </a:p>
          <a:p>
            <a:pPr marL="0" indent="0">
              <a:buNone/>
            </a:pPr>
            <a:r>
              <a:rPr lang="en-US" sz="2000" dirty="0">
                <a:effectLst/>
              </a:rPr>
              <a:t>pip install </a:t>
            </a:r>
            <a:r>
              <a:rPr lang="en-US" sz="2000" dirty="0" err="1">
                <a:effectLst/>
              </a:rPr>
              <a:t>azureml-sdk</a:t>
            </a:r>
            <a:r>
              <a:rPr lang="en-US" sz="2000" dirty="0">
                <a:effectLst/>
              </a:rPr>
              <a:t>[</a:t>
            </a:r>
            <a:r>
              <a:rPr lang="en-US" sz="2000" dirty="0" err="1">
                <a:effectLst/>
              </a:rPr>
              <a:t>automl</a:t>
            </a:r>
            <a:r>
              <a:rPr lang="en-US" sz="2000" dirty="0">
                <a:effectLst/>
              </a:rPr>
              <a:t>] </a:t>
            </a:r>
            <a:r>
              <a:rPr lang="en-US" sz="2000" dirty="0" err="1">
                <a:effectLst/>
              </a:rPr>
              <a:t>ipykernel</a:t>
            </a:r>
            <a:r>
              <a:rPr lang="en-US" sz="2000" dirty="0">
                <a:effectLst/>
              </a:rPr>
              <a:t> </a:t>
            </a:r>
          </a:p>
          <a:p>
            <a:pPr marL="0" indent="0">
              <a:buNone/>
            </a:pPr>
            <a:r>
              <a:rPr lang="en-US" sz="2000" dirty="0">
                <a:effectLst/>
              </a:rPr>
              <a:t>/data/anaconda/bin/</a:t>
            </a:r>
            <a:r>
              <a:rPr lang="en-US" sz="2000" dirty="0" err="1">
                <a:effectLst/>
              </a:rPr>
              <a:t>conda</a:t>
            </a:r>
            <a:r>
              <a:rPr lang="en-US" sz="2000" dirty="0">
                <a:effectLst/>
              </a:rPr>
              <a:t> install -y </a:t>
            </a:r>
            <a:r>
              <a:rPr lang="en-US" sz="2000" dirty="0" err="1">
                <a:effectLst/>
              </a:rPr>
              <a:t>cython</a:t>
            </a:r>
            <a:r>
              <a:rPr lang="en-US" sz="2000" dirty="0">
                <a:effectLst/>
              </a:rPr>
              <a:t> matplotlib pandas </a:t>
            </a:r>
          </a:p>
          <a:p>
            <a:pPr marL="0" indent="0">
              <a:buNone/>
            </a:pPr>
            <a:r>
              <a:rPr lang="en-US" sz="2000" dirty="0">
                <a:effectLst/>
              </a:rPr>
              <a:t>pip install </a:t>
            </a:r>
            <a:r>
              <a:rPr lang="en-US" sz="2000" dirty="0" err="1">
                <a:effectLst/>
              </a:rPr>
              <a:t>azureml</a:t>
            </a:r>
            <a:r>
              <a:rPr lang="en-US" sz="2000" dirty="0">
                <a:effectLst/>
              </a:rPr>
              <a:t>-widgets </a:t>
            </a:r>
          </a:p>
          <a:p>
            <a:pPr marL="0" indent="0">
              <a:buNone/>
            </a:pPr>
            <a:r>
              <a:rPr lang="en-US" sz="2000" dirty="0">
                <a:effectLst/>
              </a:rPr>
              <a:t>python -m </a:t>
            </a:r>
            <a:r>
              <a:rPr lang="en-US" sz="2000" dirty="0" err="1">
                <a:effectLst/>
              </a:rPr>
              <a:t>ipykernel</a:t>
            </a:r>
            <a:r>
              <a:rPr lang="en-US" sz="2000" dirty="0">
                <a:effectLst/>
              </a:rPr>
              <a:t> install --user --name </a:t>
            </a:r>
            <a:r>
              <a:rPr lang="en-US" sz="2000" dirty="0" err="1">
                <a:effectLst/>
              </a:rPr>
              <a:t>aml</a:t>
            </a:r>
            <a:r>
              <a:rPr lang="en-US" sz="2000" dirty="0">
                <a:effectLst/>
              </a:rPr>
              <a:t> --display-name </a:t>
            </a:r>
            <a:r>
              <a:rPr lang="en-US" sz="2000" dirty="0" err="1">
                <a:effectLst/>
              </a:rPr>
              <a:t>aml</a:t>
            </a:r>
            <a:r>
              <a:rPr lang="en-US" sz="2000" dirty="0">
                <a:effectLst/>
              </a:rPr>
              <a:t> </a:t>
            </a:r>
          </a:p>
          <a:p>
            <a:pPr marL="0" indent="0">
              <a:buNone/>
            </a:pPr>
            <a:endParaRPr lang="en-US" sz="2000" dirty="0">
              <a:effectLst/>
            </a:endParaRPr>
          </a:p>
          <a:p>
            <a:pPr marL="0" indent="0">
              <a:buNone/>
            </a:pPr>
            <a:r>
              <a:rPr lang="en-US" dirty="0">
                <a:effectLst/>
              </a:rPr>
              <a:t>switch </a:t>
            </a:r>
            <a:r>
              <a:rPr lang="en-US" dirty="0" err="1"/>
              <a:t>J</a:t>
            </a:r>
            <a:r>
              <a:rPr lang="en-US" dirty="0" err="1">
                <a:effectLst/>
              </a:rPr>
              <a:t>upyterHub</a:t>
            </a:r>
            <a:r>
              <a:rPr lang="en-US" dirty="0">
                <a:effectLst/>
              </a:rPr>
              <a:t> kernel to </a:t>
            </a:r>
            <a:r>
              <a:rPr lang="en-US" dirty="0" err="1">
                <a:effectLst/>
              </a:rPr>
              <a:t>aml</a:t>
            </a:r>
            <a:r>
              <a:rPr lang="en-US" dirty="0">
                <a:effectLst/>
              </a:rPr>
              <a:t> </a:t>
            </a:r>
          </a:p>
          <a:p>
            <a:endParaRPr lang="en-US" dirty="0"/>
          </a:p>
        </p:txBody>
      </p:sp>
    </p:spTree>
    <p:extLst>
      <p:ext uri="{BB962C8B-B14F-4D97-AF65-F5344CB8AC3E}">
        <p14:creationId xmlns:p14="http://schemas.microsoft.com/office/powerpoint/2010/main" val="5909920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Setting up Azure ML - DSVM </a:t>
            </a:r>
            <a:r>
              <a:rPr lang="en-US"/>
              <a:t>/ Windows 2016</a:t>
            </a:r>
            <a:endParaRPr lang="en-US" dirty="0"/>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5289029"/>
          </a:xfrm>
        </p:spPr>
        <p:txBody>
          <a:bodyPr>
            <a:normAutofit fontScale="92500" lnSpcReduction="10000"/>
          </a:bodyPr>
          <a:lstStyle/>
          <a:p>
            <a:pPr marL="0" indent="0">
              <a:buNone/>
            </a:pPr>
            <a:r>
              <a:rPr lang="en-US" dirty="0">
                <a:effectLst/>
              </a:rPr>
              <a:t>In </a:t>
            </a:r>
            <a:r>
              <a:rPr lang="en-US" dirty="0"/>
              <a:t>CMD prompt</a:t>
            </a:r>
            <a:endParaRPr lang="en-US" dirty="0">
              <a:effectLst/>
            </a:endParaRPr>
          </a:p>
          <a:p>
            <a:pPr marL="0" indent="0">
              <a:buNone/>
            </a:pPr>
            <a:r>
              <a:rPr lang="en-US" sz="2000" dirty="0"/>
              <a:t>cd notebooks </a:t>
            </a:r>
          </a:p>
          <a:p>
            <a:pPr marL="0" indent="0">
              <a:buNone/>
            </a:pPr>
            <a:r>
              <a:rPr lang="en-US" sz="2000" dirty="0"/>
              <a:t>git clone https://github.com/Azure/MachineLearningNotebooks.git </a:t>
            </a:r>
          </a:p>
          <a:p>
            <a:pPr marL="0" indent="0">
              <a:buNone/>
            </a:pPr>
            <a:r>
              <a:rPr lang="en-US" sz="2000" dirty="0"/>
              <a:t>cd ..</a:t>
            </a:r>
            <a:endParaRPr lang="en-US" sz="2000" dirty="0">
              <a:effectLst/>
            </a:endParaRPr>
          </a:p>
          <a:p>
            <a:pPr marL="0" indent="0">
              <a:buNone/>
            </a:pPr>
            <a:r>
              <a:rPr lang="en-US" sz="2000" dirty="0" err="1">
                <a:effectLst/>
              </a:rPr>
              <a:t>conda</a:t>
            </a:r>
            <a:r>
              <a:rPr lang="en-US" sz="2000" dirty="0">
                <a:effectLst/>
              </a:rPr>
              <a:t> create -y -n </a:t>
            </a:r>
            <a:r>
              <a:rPr lang="en-US" sz="2000" dirty="0" err="1">
                <a:effectLst/>
              </a:rPr>
              <a:t>aml</a:t>
            </a:r>
            <a:r>
              <a:rPr lang="en-US" sz="2000" dirty="0">
                <a:effectLst/>
              </a:rPr>
              <a:t> Python=3.6 </a:t>
            </a:r>
          </a:p>
          <a:p>
            <a:pPr marL="0" indent="0">
              <a:buNone/>
            </a:pPr>
            <a:r>
              <a:rPr lang="en-US" sz="2000" dirty="0" err="1"/>
              <a:t>c</a:t>
            </a:r>
            <a:r>
              <a:rPr lang="en-US" sz="2000" dirty="0" err="1">
                <a:effectLst/>
              </a:rPr>
              <a:t>onda</a:t>
            </a:r>
            <a:r>
              <a:rPr lang="en-US" sz="2000" dirty="0">
                <a:effectLst/>
              </a:rPr>
              <a:t> activate </a:t>
            </a:r>
            <a:r>
              <a:rPr lang="en-US" sz="2000" dirty="0" err="1">
                <a:effectLst/>
              </a:rPr>
              <a:t>aml</a:t>
            </a:r>
            <a:r>
              <a:rPr lang="en-US" sz="2000" dirty="0">
                <a:effectLst/>
              </a:rPr>
              <a:t> </a:t>
            </a:r>
          </a:p>
          <a:p>
            <a:pPr marL="0" indent="0">
              <a:buNone/>
            </a:pPr>
            <a:r>
              <a:rPr lang="en-US" sz="2000" dirty="0" err="1"/>
              <a:t>conda</a:t>
            </a:r>
            <a:r>
              <a:rPr lang="en-US" sz="2000" dirty="0"/>
              <a:t> install -y </a:t>
            </a:r>
            <a:r>
              <a:rPr lang="en-US" sz="2000" dirty="0" err="1"/>
              <a:t>cython</a:t>
            </a:r>
            <a:r>
              <a:rPr lang="en-US" sz="2000" dirty="0"/>
              <a:t> matplotlib pandas </a:t>
            </a:r>
            <a:endParaRPr lang="en-US" sz="2000" dirty="0">
              <a:effectLst/>
            </a:endParaRPr>
          </a:p>
          <a:p>
            <a:pPr marL="0" indent="0">
              <a:buNone/>
            </a:pPr>
            <a:r>
              <a:rPr lang="en-US" sz="2000" dirty="0">
                <a:effectLst/>
              </a:rPr>
              <a:t>pip install </a:t>
            </a:r>
            <a:r>
              <a:rPr lang="en-US" sz="2000" dirty="0" err="1">
                <a:effectLst/>
              </a:rPr>
              <a:t>azureml-sdk</a:t>
            </a:r>
            <a:r>
              <a:rPr lang="en-US" sz="2000" dirty="0">
                <a:effectLst/>
              </a:rPr>
              <a:t>[</a:t>
            </a:r>
            <a:r>
              <a:rPr lang="en-US" sz="2000" dirty="0" err="1">
                <a:effectLst/>
              </a:rPr>
              <a:t>automl</a:t>
            </a:r>
            <a:r>
              <a:rPr lang="en-US" sz="2000" dirty="0">
                <a:effectLst/>
              </a:rPr>
              <a:t>] </a:t>
            </a:r>
            <a:r>
              <a:rPr lang="en-US" sz="2000" dirty="0" err="1">
                <a:effectLst/>
              </a:rPr>
              <a:t>ipykernel</a:t>
            </a:r>
            <a:r>
              <a:rPr lang="en-US" sz="2000" dirty="0">
                <a:effectLst/>
              </a:rPr>
              <a:t> </a:t>
            </a:r>
          </a:p>
          <a:p>
            <a:pPr marL="0" indent="0">
              <a:buNone/>
            </a:pPr>
            <a:r>
              <a:rPr lang="en-US" sz="2000" dirty="0"/>
              <a:t>pip install </a:t>
            </a:r>
            <a:r>
              <a:rPr lang="en-US" sz="2000" dirty="0" err="1"/>
              <a:t>azureml</a:t>
            </a:r>
            <a:r>
              <a:rPr lang="en-US" sz="2000" dirty="0"/>
              <a:t>-widgets </a:t>
            </a:r>
            <a:endParaRPr lang="en-US" sz="2000" dirty="0">
              <a:effectLst/>
            </a:endParaRPr>
          </a:p>
          <a:p>
            <a:pPr marL="0" indent="0">
              <a:buNone/>
            </a:pPr>
            <a:r>
              <a:rPr lang="en-US" sz="2000" dirty="0">
                <a:effectLst/>
              </a:rPr>
              <a:t>python -m </a:t>
            </a:r>
            <a:r>
              <a:rPr lang="en-US" sz="2000" dirty="0" err="1">
                <a:effectLst/>
              </a:rPr>
              <a:t>ipykernel</a:t>
            </a:r>
            <a:r>
              <a:rPr lang="en-US" sz="2000" dirty="0">
                <a:effectLst/>
              </a:rPr>
              <a:t> install --user --name </a:t>
            </a:r>
            <a:r>
              <a:rPr lang="en-US" sz="2000" dirty="0" err="1">
                <a:effectLst/>
              </a:rPr>
              <a:t>aml</a:t>
            </a:r>
            <a:r>
              <a:rPr lang="en-US" sz="2000" dirty="0">
                <a:effectLst/>
              </a:rPr>
              <a:t> --display-name </a:t>
            </a:r>
            <a:r>
              <a:rPr lang="en-US" sz="2000" dirty="0" err="1">
                <a:effectLst/>
              </a:rPr>
              <a:t>aml</a:t>
            </a:r>
            <a:r>
              <a:rPr lang="en-US" sz="2000" dirty="0">
                <a:effectLst/>
              </a:rPr>
              <a:t> </a:t>
            </a:r>
          </a:p>
          <a:p>
            <a:pPr marL="0" indent="0">
              <a:buNone/>
            </a:pPr>
            <a:endParaRPr lang="en-US" sz="2000" dirty="0">
              <a:effectLst/>
            </a:endParaRPr>
          </a:p>
          <a:p>
            <a:pPr marL="0" indent="0">
              <a:buNone/>
            </a:pPr>
            <a:r>
              <a:rPr lang="en-US" dirty="0"/>
              <a:t>start </a:t>
            </a:r>
            <a:r>
              <a:rPr lang="en-US" dirty="0" err="1"/>
              <a:t>JupyterLab</a:t>
            </a:r>
            <a:r>
              <a:rPr lang="en-US" dirty="0"/>
              <a:t> notebooks</a:t>
            </a:r>
            <a:endParaRPr lang="en-US" dirty="0">
              <a:effectLst/>
            </a:endParaRPr>
          </a:p>
          <a:p>
            <a:pPr marL="0" indent="0">
              <a:buNone/>
            </a:pPr>
            <a:r>
              <a:rPr lang="en-US" dirty="0">
                <a:effectLst/>
              </a:rPr>
              <a:t>switch </a:t>
            </a:r>
            <a:r>
              <a:rPr lang="en-US" dirty="0" err="1"/>
              <a:t>J</a:t>
            </a:r>
            <a:r>
              <a:rPr lang="en-US" dirty="0" err="1">
                <a:effectLst/>
              </a:rPr>
              <a:t>upyterLab</a:t>
            </a:r>
            <a:r>
              <a:rPr lang="en-US" dirty="0">
                <a:effectLst/>
              </a:rPr>
              <a:t> kernel to </a:t>
            </a:r>
            <a:r>
              <a:rPr lang="en-US" dirty="0" err="1">
                <a:effectLst/>
              </a:rPr>
              <a:t>aml</a:t>
            </a:r>
            <a:r>
              <a:rPr lang="en-US" dirty="0">
                <a:effectLst/>
              </a:rPr>
              <a:t> when prompted </a:t>
            </a:r>
          </a:p>
          <a:p>
            <a:endParaRPr lang="en-US" dirty="0"/>
          </a:p>
        </p:txBody>
      </p:sp>
    </p:spTree>
    <p:extLst>
      <p:ext uri="{BB962C8B-B14F-4D97-AF65-F5344CB8AC3E}">
        <p14:creationId xmlns:p14="http://schemas.microsoft.com/office/powerpoint/2010/main" val="6618322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8"/>
            <a:ext cx="10515600" cy="6248367"/>
          </a:xfrm>
        </p:spPr>
        <p:txBody>
          <a:bodyPr>
            <a:normAutofit fontScale="92500" lnSpcReduction="20000"/>
          </a:bodyPr>
          <a:lstStyle/>
          <a:p>
            <a:r>
              <a:rPr lang="en-US" dirty="0">
                <a:effectLst/>
              </a:rPr>
              <a:t>Configure</a:t>
            </a:r>
          </a:p>
          <a:p>
            <a:pPr lvl="1"/>
            <a:r>
              <a:rPr lang="en-US" dirty="0">
                <a:effectLst/>
              </a:rPr>
              <a:t>Open </a:t>
            </a:r>
            <a:r>
              <a:rPr lang="en-US" dirty="0" err="1">
                <a:effectLst/>
              </a:rPr>
              <a:t>configure.ipnb</a:t>
            </a:r>
            <a:r>
              <a:rPr lang="en-US" dirty="0">
                <a:effectLst/>
              </a:rPr>
              <a:t> </a:t>
            </a:r>
            <a:r>
              <a:rPr lang="en-US" dirty="0"/>
              <a:t>-</a:t>
            </a:r>
            <a:r>
              <a:rPr lang="en-US" dirty="0">
                <a:effectLst/>
              </a:rPr>
              <a:t> set kernel to </a:t>
            </a:r>
            <a:r>
              <a:rPr lang="en-US" dirty="0" err="1">
                <a:effectLst/>
              </a:rPr>
              <a:t>aml</a:t>
            </a:r>
            <a:r>
              <a:rPr lang="en-US" dirty="0">
                <a:effectLst/>
              </a:rPr>
              <a:t> (</a:t>
            </a:r>
            <a:r>
              <a:rPr lang="en-US" dirty="0">
                <a:solidFill>
                  <a:srgbClr val="FF0000"/>
                </a:solidFill>
                <a:effectLst/>
              </a:rPr>
              <a:t>+ quick intro to notebooks</a:t>
            </a:r>
            <a:r>
              <a:rPr lang="en-US" dirty="0">
                <a:effectLst/>
              </a:rPr>
              <a:t>)</a:t>
            </a:r>
          </a:p>
          <a:p>
            <a:pPr lvl="2"/>
            <a:r>
              <a:rPr lang="en-US" dirty="0">
                <a:effectLst/>
              </a:rPr>
              <a:t>Check version number, cell [1]</a:t>
            </a:r>
          </a:p>
          <a:p>
            <a:pPr lvl="2"/>
            <a:r>
              <a:rPr lang="en-US" dirty="0"/>
              <a:t>Set parameters from </a:t>
            </a:r>
            <a:r>
              <a:rPr lang="en-US" dirty="0" err="1"/>
              <a:t>AzureML</a:t>
            </a:r>
            <a:r>
              <a:rPr lang="en-US" dirty="0"/>
              <a:t> workspace, cell [2]</a:t>
            </a:r>
          </a:p>
          <a:p>
            <a:pPr lvl="2"/>
            <a:r>
              <a:rPr lang="en-US" dirty="0">
                <a:effectLst/>
              </a:rPr>
              <a:t>Save config file, cell [3]</a:t>
            </a:r>
          </a:p>
          <a:p>
            <a:r>
              <a:rPr lang="en-US" dirty="0"/>
              <a:t>Data Prep</a:t>
            </a:r>
          </a:p>
          <a:p>
            <a:pPr lvl="1"/>
            <a:r>
              <a:rPr lang="en-US" dirty="0"/>
              <a:t>Open tutorials/regression-part1-data-prep.ipnb - set kernel to </a:t>
            </a:r>
            <a:r>
              <a:rPr lang="en-US" dirty="0" err="1"/>
              <a:t>aml</a:t>
            </a:r>
            <a:endParaRPr lang="en-US" dirty="0"/>
          </a:p>
          <a:p>
            <a:pPr lvl="2"/>
            <a:r>
              <a:rPr lang="en-US" dirty="0">
                <a:effectLst/>
              </a:rPr>
              <a:t>For each cell</a:t>
            </a:r>
          </a:p>
          <a:p>
            <a:pPr lvl="3"/>
            <a:r>
              <a:rPr lang="en-US" dirty="0"/>
              <a:t>Read over the description and code</a:t>
            </a:r>
          </a:p>
          <a:p>
            <a:pPr lvl="3"/>
            <a:r>
              <a:rPr lang="en-US" dirty="0">
                <a:effectLst/>
              </a:rPr>
              <a:t>Execute the cell</a:t>
            </a:r>
          </a:p>
          <a:p>
            <a:pPr lvl="2"/>
            <a:r>
              <a:rPr lang="en-US" dirty="0">
                <a:effectLst/>
              </a:rPr>
              <a:t>Check out:  transforming dates by example</a:t>
            </a:r>
          </a:p>
          <a:p>
            <a:pPr lvl="2"/>
            <a:r>
              <a:rPr lang="en-US" dirty="0">
                <a:effectLst/>
              </a:rPr>
              <a:t>Check out:  each transformation is saved as a step in a transformation pipeline</a:t>
            </a:r>
          </a:p>
          <a:p>
            <a:r>
              <a:rPr lang="en-US" dirty="0"/>
              <a:t>Model Training - </a:t>
            </a:r>
            <a:r>
              <a:rPr lang="en-US" dirty="0" err="1"/>
              <a:t>AutoML</a:t>
            </a:r>
            <a:endParaRPr lang="en-US" dirty="0"/>
          </a:p>
          <a:p>
            <a:pPr lvl="1"/>
            <a:r>
              <a:rPr lang="en-US" dirty="0"/>
              <a:t>Open tutorials/regression-part2-automatedml.ipnb - set kernel to </a:t>
            </a:r>
            <a:r>
              <a:rPr lang="en-US" dirty="0" err="1"/>
              <a:t>aml</a:t>
            </a:r>
            <a:endParaRPr lang="en-US" dirty="0"/>
          </a:p>
          <a:p>
            <a:pPr lvl="2"/>
            <a:r>
              <a:rPr lang="en-US" dirty="0">
                <a:effectLst/>
              </a:rPr>
              <a:t>For each cell</a:t>
            </a:r>
          </a:p>
          <a:p>
            <a:pPr lvl="3"/>
            <a:r>
              <a:rPr lang="en-US" dirty="0"/>
              <a:t>Read over the description and code</a:t>
            </a:r>
          </a:p>
          <a:p>
            <a:pPr lvl="3"/>
            <a:r>
              <a:rPr lang="en-US" dirty="0"/>
              <a:t>Execute the cell</a:t>
            </a:r>
          </a:p>
          <a:p>
            <a:pPr lvl="2"/>
            <a:r>
              <a:rPr lang="en-US" dirty="0"/>
              <a:t>Walk through Azure portal Azure ML service Workspace</a:t>
            </a:r>
          </a:p>
          <a:p>
            <a:pPr lvl="3"/>
            <a:r>
              <a:rPr lang="en-US" dirty="0"/>
              <a:t>Check out:  Experiments, the </a:t>
            </a:r>
            <a:r>
              <a:rPr lang="en-US" dirty="0" err="1"/>
              <a:t>AutoML</a:t>
            </a:r>
            <a:r>
              <a:rPr lang="en-US" dirty="0"/>
              <a:t> run, </a:t>
            </a:r>
            <a:r>
              <a:rPr lang="en-US" dirty="0" err="1"/>
              <a:t>etc</a:t>
            </a:r>
            <a:endParaRPr lang="en-US" dirty="0"/>
          </a:p>
          <a:p>
            <a:pPr lvl="3"/>
            <a:r>
              <a:rPr lang="en-US" dirty="0"/>
              <a:t>Check out the next slide, on how </a:t>
            </a:r>
            <a:r>
              <a:rPr lang="en-US" dirty="0" err="1"/>
              <a:t>AutoML</a:t>
            </a:r>
            <a:r>
              <a:rPr lang="en-US" dirty="0"/>
              <a:t> works</a:t>
            </a:r>
          </a:p>
          <a:p>
            <a:pPr lvl="2"/>
            <a:endParaRPr lang="en-US" dirty="0">
              <a:effectLst/>
            </a:endParaRPr>
          </a:p>
          <a:p>
            <a:endParaRPr lang="en-US" dirty="0"/>
          </a:p>
        </p:txBody>
      </p:sp>
    </p:spTree>
    <p:extLst>
      <p:ext uri="{BB962C8B-B14F-4D97-AF65-F5344CB8AC3E}">
        <p14:creationId xmlns:p14="http://schemas.microsoft.com/office/powerpoint/2010/main" val="23045439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How </a:t>
            </a:r>
            <a:r>
              <a:rPr lang="en-US" dirty="0" err="1"/>
              <a:t>AutoML</a:t>
            </a:r>
            <a:r>
              <a:rPr lang="en-US" dirty="0"/>
              <a:t> works</a:t>
            </a:r>
          </a:p>
        </p:txBody>
      </p:sp>
      <p:pic>
        <p:nvPicPr>
          <p:cNvPr id="2050" name="Picture 2" descr="https://docs.microsoft.com/en-us/azure/machine-learning/service/media/how-to-automated-ml/automated-machine-learning.png#lightbox">
            <a:extLst>
              <a:ext uri="{FF2B5EF4-FFF2-40B4-BE49-F238E27FC236}">
                <a16:creationId xmlns:a16="http://schemas.microsoft.com/office/drawing/2014/main" id="{4A95E409-B0BA-4B69-899B-16DDF705CA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775" y="1374659"/>
            <a:ext cx="11220450" cy="3781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5659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AFB9F-A8F2-44FC-B8D3-2D7B200491BF}"/>
              </a:ext>
            </a:extLst>
          </p:cNvPr>
          <p:cNvSpPr>
            <a:spLocks noGrp="1"/>
          </p:cNvSpPr>
          <p:nvPr>
            <p:ph type="title"/>
          </p:nvPr>
        </p:nvSpPr>
        <p:spPr/>
        <p:txBody>
          <a:bodyPr/>
          <a:lstStyle/>
          <a:p>
            <a:r>
              <a:rPr lang="en-US" dirty="0"/>
              <a:t>Fixes</a:t>
            </a:r>
          </a:p>
        </p:txBody>
      </p:sp>
      <p:sp>
        <p:nvSpPr>
          <p:cNvPr id="3" name="Content Placeholder 2">
            <a:extLst>
              <a:ext uri="{FF2B5EF4-FFF2-40B4-BE49-F238E27FC236}">
                <a16:creationId xmlns:a16="http://schemas.microsoft.com/office/drawing/2014/main" id="{C736E373-6BCF-4034-90D9-4E3813879DCA}"/>
              </a:ext>
            </a:extLst>
          </p:cNvPr>
          <p:cNvSpPr>
            <a:spLocks noGrp="1"/>
          </p:cNvSpPr>
          <p:nvPr>
            <p:ph idx="1"/>
          </p:nvPr>
        </p:nvSpPr>
        <p:spPr/>
        <p:txBody>
          <a:bodyPr/>
          <a:lstStyle/>
          <a:p>
            <a:pPr marL="0" indent="0">
              <a:buNone/>
            </a:pPr>
            <a:r>
              <a:rPr lang="en-US" dirty="0"/>
              <a:t>Fix for plot in regression-2:</a:t>
            </a:r>
          </a:p>
          <a:p>
            <a:pPr marL="0" indent="0">
              <a:buNone/>
            </a:pPr>
            <a:r>
              <a:rPr lang="en-US" dirty="0"/>
              <a:t>fig = </a:t>
            </a:r>
            <a:r>
              <a:rPr lang="en-US" dirty="0" err="1"/>
              <a:t>plt.figure</a:t>
            </a:r>
            <a:r>
              <a:rPr lang="en-US" dirty="0"/>
              <a:t>(</a:t>
            </a:r>
            <a:r>
              <a:rPr lang="en-US" dirty="0" err="1"/>
              <a:t>figsize</a:t>
            </a:r>
            <a:r>
              <a:rPr lang="en-US" dirty="0"/>
              <a:t>=(10, 7))</a:t>
            </a:r>
          </a:p>
        </p:txBody>
      </p:sp>
    </p:spTree>
    <p:extLst>
      <p:ext uri="{BB962C8B-B14F-4D97-AF65-F5344CB8AC3E}">
        <p14:creationId xmlns:p14="http://schemas.microsoft.com/office/powerpoint/2010/main" val="19712921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lstStyle/>
          <a:p>
            <a:r>
              <a:rPr lang="en-US" dirty="0"/>
              <a:t>Can you cancel an experiment?</a:t>
            </a:r>
          </a:p>
          <a:p>
            <a:r>
              <a:rPr lang="en-US" dirty="0">
                <a:effectLst/>
              </a:rPr>
              <a:t>Can you </a:t>
            </a:r>
            <a:r>
              <a:rPr lang="en-US" dirty="0" err="1">
                <a:effectLst/>
              </a:rPr>
              <a:t>splunk</a:t>
            </a:r>
            <a:r>
              <a:rPr lang="en-US" dirty="0">
                <a:effectLst/>
              </a:rPr>
              <a:t> through the various elements in the Workspace, by iterating through them?</a:t>
            </a:r>
          </a:p>
          <a:p>
            <a:r>
              <a:rPr lang="en-US" dirty="0"/>
              <a:t>Can you add an extra feature to the Taxi dataset called </a:t>
            </a:r>
            <a:r>
              <a:rPr lang="en-US" dirty="0" err="1"/>
              <a:t>crow_flies_distance</a:t>
            </a:r>
            <a:r>
              <a:rPr lang="en-US" dirty="0"/>
              <a:t> and calculate it from </a:t>
            </a:r>
            <a:r>
              <a:rPr lang="en-US" dirty="0" err="1"/>
              <a:t>lat</a:t>
            </a:r>
            <a:r>
              <a:rPr lang="en-US" dirty="0"/>
              <a:t>/long?</a:t>
            </a:r>
          </a:p>
          <a:p>
            <a:r>
              <a:rPr lang="en-US" dirty="0">
                <a:effectLst/>
              </a:rPr>
              <a:t>Can you use the </a:t>
            </a:r>
            <a:r>
              <a:rPr lang="en-US" dirty="0"/>
              <a:t>Python </a:t>
            </a:r>
            <a:r>
              <a:rPr lang="en-US" dirty="0" err="1"/>
              <a:t>dprep</a:t>
            </a:r>
            <a:r>
              <a:rPr lang="en-US" dirty="0"/>
              <a:t> toolkit to automatically one-hot encode a categorical variable?</a:t>
            </a:r>
          </a:p>
          <a:p>
            <a:pPr lvl="1"/>
            <a:r>
              <a:rPr lang="en-US" dirty="0">
                <a:hlinkClick r:id="rId2"/>
              </a:rPr>
              <a:t>https://docs.microsoft.com/en-us/azure/machine-learning/service/how-to-transform-data</a:t>
            </a:r>
            <a:r>
              <a:rPr lang="en-US" dirty="0"/>
              <a:t> </a:t>
            </a:r>
            <a:endParaRPr lang="en-US" dirty="0">
              <a:effectLst/>
            </a:endParaRPr>
          </a:p>
          <a:p>
            <a:endParaRPr lang="en-US" dirty="0"/>
          </a:p>
        </p:txBody>
      </p:sp>
    </p:spTree>
    <p:extLst>
      <p:ext uri="{BB962C8B-B14F-4D97-AF65-F5344CB8AC3E}">
        <p14:creationId xmlns:p14="http://schemas.microsoft.com/office/powerpoint/2010/main" val="3157140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effectLst/>
              </a:rPr>
              <a:t>Model Training with </a:t>
            </a:r>
            <a:r>
              <a:rPr lang="en-US" dirty="0"/>
              <a:t>Azure ML Compute</a:t>
            </a:r>
            <a:endParaRPr lang="en-US" dirty="0">
              <a:effectLst/>
            </a:endParaRPr>
          </a:p>
          <a:p>
            <a:pPr lvl="1"/>
            <a:r>
              <a:rPr lang="en-US" dirty="0">
                <a:effectLst/>
              </a:rPr>
              <a:t>Open tutorials/img-classification-part1-training </a:t>
            </a:r>
            <a:r>
              <a:rPr lang="en-US" dirty="0"/>
              <a:t>-</a:t>
            </a:r>
            <a:r>
              <a:rPr lang="en-US" dirty="0">
                <a:effectLst/>
              </a:rPr>
              <a:t> set kernel to </a:t>
            </a:r>
            <a:r>
              <a:rPr lang="en-US" dirty="0" err="1">
                <a:effectLst/>
              </a:rPr>
              <a:t>aml</a:t>
            </a:r>
            <a:endParaRPr lang="en-US" dirty="0">
              <a:effectLst/>
            </a:endParaRPr>
          </a:p>
          <a:p>
            <a:pPr lvl="2"/>
            <a:r>
              <a:rPr lang="en-US" dirty="0"/>
              <a:t>For each cell</a:t>
            </a:r>
          </a:p>
          <a:p>
            <a:pPr lvl="3"/>
            <a:r>
              <a:rPr lang="en-US" dirty="0"/>
              <a:t>Read over the description and code</a:t>
            </a:r>
          </a:p>
          <a:p>
            <a:pPr lvl="3"/>
            <a:r>
              <a:rPr lang="en-US" dirty="0"/>
              <a:t>Execute the cell</a:t>
            </a:r>
          </a:p>
          <a:p>
            <a:pPr lvl="2"/>
            <a:r>
              <a:rPr lang="en-US" dirty="0"/>
              <a:t>Check out Workspace / storage account for uploaded data</a:t>
            </a:r>
          </a:p>
          <a:p>
            <a:pPr lvl="2"/>
            <a:r>
              <a:rPr lang="en-US" dirty="0"/>
              <a:t>Check out Workspace / Experiments for run info, uploaded model, logs</a:t>
            </a:r>
          </a:p>
          <a:p>
            <a:r>
              <a:rPr lang="en-US" dirty="0"/>
              <a:t>Model Deployment with Azure Container Instances</a:t>
            </a:r>
          </a:p>
          <a:p>
            <a:pPr lvl="1"/>
            <a:r>
              <a:rPr lang="en-US" dirty="0"/>
              <a:t>Open tutorials/img-classification-part2-deploy - set kernel to </a:t>
            </a:r>
            <a:r>
              <a:rPr lang="en-US" dirty="0" err="1"/>
              <a:t>aml</a:t>
            </a:r>
            <a:endParaRPr lang="en-US" dirty="0"/>
          </a:p>
          <a:p>
            <a:pPr lvl="2"/>
            <a:r>
              <a:rPr lang="en-US" dirty="0"/>
              <a:t>Skip the first cell</a:t>
            </a:r>
          </a:p>
          <a:p>
            <a:pPr lvl="2"/>
            <a:r>
              <a:rPr lang="en-US" dirty="0"/>
              <a:t>For each cell</a:t>
            </a:r>
          </a:p>
          <a:p>
            <a:pPr lvl="3"/>
            <a:r>
              <a:rPr lang="en-US" dirty="0"/>
              <a:t>Read over the description and code</a:t>
            </a:r>
          </a:p>
          <a:p>
            <a:pPr lvl="3"/>
            <a:r>
              <a:rPr lang="en-US" dirty="0"/>
              <a:t>Execute the cell</a:t>
            </a:r>
          </a:p>
          <a:p>
            <a:pPr lvl="2"/>
            <a:r>
              <a:rPr lang="en-US" dirty="0"/>
              <a:t>Check out Workspace / Images to see the deployed model -&gt; docker image</a:t>
            </a:r>
          </a:p>
          <a:p>
            <a:pPr lvl="2"/>
            <a:r>
              <a:rPr lang="en-US" dirty="0"/>
              <a:t>Check out Workspace / Deployments to see the deployed model running</a:t>
            </a:r>
          </a:p>
          <a:p>
            <a:pPr lvl="2"/>
            <a:r>
              <a:rPr lang="en-US" dirty="0"/>
              <a:t>Be sure to execute last cell, to delete ACI deployment</a:t>
            </a:r>
          </a:p>
          <a:p>
            <a:pPr lvl="2"/>
            <a:r>
              <a:rPr lang="en-US" dirty="0"/>
              <a:t>Double-check Workspace / Deployments to be sure deployed model is shut down</a:t>
            </a:r>
          </a:p>
          <a:p>
            <a:pPr lvl="2"/>
            <a:endParaRPr lang="en-US" dirty="0"/>
          </a:p>
          <a:p>
            <a:endParaRPr lang="en-US" dirty="0"/>
          </a:p>
        </p:txBody>
      </p:sp>
    </p:spTree>
    <p:extLst>
      <p:ext uri="{BB962C8B-B14F-4D97-AF65-F5344CB8AC3E}">
        <p14:creationId xmlns:p14="http://schemas.microsoft.com/office/powerpoint/2010/main" val="1879655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lstStyle/>
          <a:p>
            <a:r>
              <a:rPr lang="en-US" dirty="0"/>
              <a:t>Are you familiar with the </a:t>
            </a:r>
            <a:r>
              <a:rPr lang="en-US" i="1" dirty="0"/>
              <a:t>Template Method </a:t>
            </a:r>
            <a:r>
              <a:rPr lang="en-US" dirty="0"/>
              <a:t>design pattern?  How is it used when you train your model with Azure ML Compute?</a:t>
            </a:r>
          </a:p>
          <a:p>
            <a:r>
              <a:rPr lang="en-US" dirty="0"/>
              <a:t>What do you do if you want to create a deep neural network with </a:t>
            </a:r>
            <a:r>
              <a:rPr lang="en-US" dirty="0" err="1"/>
              <a:t>PyTorch</a:t>
            </a:r>
            <a:r>
              <a:rPr lang="en-US" dirty="0"/>
              <a:t> or TensorFlow and train it on a TB of data?</a:t>
            </a:r>
          </a:p>
          <a:p>
            <a:r>
              <a:rPr lang="en-US" dirty="0"/>
              <a:t>Can you add monitoring via App Insights to the deployed model?</a:t>
            </a:r>
          </a:p>
          <a:p>
            <a:pPr lvl="1"/>
            <a:r>
              <a:rPr lang="en-US" sz="1800" dirty="0">
                <a:hlinkClick r:id="rId2"/>
              </a:rPr>
              <a:t>https://docs.microsoft.com/en-us/azure/machine-learning/service/how-to-enable-app-insights</a:t>
            </a:r>
            <a:r>
              <a:rPr lang="en-US" sz="1800" dirty="0"/>
              <a:t> </a:t>
            </a:r>
            <a:endParaRPr lang="en-US" sz="1800" dirty="0">
              <a:effectLst/>
            </a:endParaRPr>
          </a:p>
          <a:p>
            <a:r>
              <a:rPr lang="en-US" dirty="0"/>
              <a:t>Can you collect data on how well your model is performing?</a:t>
            </a:r>
          </a:p>
          <a:p>
            <a:pPr lvl="1"/>
            <a:r>
              <a:rPr lang="en-US" sz="1800" dirty="0">
                <a:hlinkClick r:id="rId3"/>
              </a:rPr>
              <a:t>https://docs.microsoft.com/en-us/azure/machine-learning/service/how-to-enable-data-collection</a:t>
            </a:r>
            <a:r>
              <a:rPr lang="en-US" sz="1800" dirty="0"/>
              <a:t> </a:t>
            </a:r>
          </a:p>
        </p:txBody>
      </p:sp>
    </p:spTree>
    <p:extLst>
      <p:ext uri="{BB962C8B-B14F-4D97-AF65-F5344CB8AC3E}">
        <p14:creationId xmlns:p14="http://schemas.microsoft.com/office/powerpoint/2010/main" val="39434197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How the Azure ML service works</a:t>
            </a:r>
          </a:p>
        </p:txBody>
      </p:sp>
      <p:pic>
        <p:nvPicPr>
          <p:cNvPr id="1026" name="Picture 2" descr="https://docs.microsoft.com/en-us/azure/machine-learning/service/media/concept-azure-machine-learning-architecture/workflow.png#lightbox">
            <a:extLst>
              <a:ext uri="{FF2B5EF4-FFF2-40B4-BE49-F238E27FC236}">
                <a16:creationId xmlns:a16="http://schemas.microsoft.com/office/drawing/2014/main" id="{A972286F-21D0-4837-BB41-37D21F4F00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91894"/>
            <a:ext cx="5514975" cy="376237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0F71B5A3-5D9E-448E-B933-A108817E5151}"/>
              </a:ext>
            </a:extLst>
          </p:cNvPr>
          <p:cNvSpPr/>
          <p:nvPr/>
        </p:nvSpPr>
        <p:spPr>
          <a:xfrm>
            <a:off x="6096000" y="1091894"/>
            <a:ext cx="6096000" cy="4524315"/>
          </a:xfrm>
          <a:prstGeom prst="rect">
            <a:avLst/>
          </a:prstGeom>
        </p:spPr>
        <p:txBody>
          <a:bodyPr>
            <a:spAutoFit/>
          </a:bodyPr>
          <a:lstStyle/>
          <a:p>
            <a:pPr>
              <a:buFont typeface="+mj-lt"/>
              <a:buAutoNum type="arabicPeriod"/>
            </a:pPr>
            <a:r>
              <a:rPr lang="en-US" dirty="0">
                <a:solidFill>
                  <a:srgbClr val="000000"/>
                </a:solidFill>
                <a:latin typeface="Segoe UI" panose="020B0502040204020203" pitchFamily="34" charset="0"/>
              </a:rPr>
              <a:t>Develop machine learning training scripts in </a:t>
            </a:r>
            <a:r>
              <a:rPr lang="en-US" b="1" dirty="0">
                <a:solidFill>
                  <a:srgbClr val="000000"/>
                </a:solidFill>
                <a:latin typeface="Segoe UI" panose="020B0502040204020203" pitchFamily="34" charset="0"/>
              </a:rPr>
              <a:t>Python</a:t>
            </a:r>
            <a:r>
              <a:rPr lang="en-US" dirty="0">
                <a:solidFill>
                  <a:srgbClr val="000000"/>
                </a:solidFill>
                <a:latin typeface="Segoe UI" panose="020B0502040204020203" pitchFamily="34" charset="0"/>
              </a:rPr>
              <a:t>.</a:t>
            </a:r>
          </a:p>
          <a:p>
            <a:pPr>
              <a:buFont typeface="+mj-lt"/>
              <a:buAutoNum type="arabicPeriod"/>
            </a:pPr>
            <a:r>
              <a:rPr lang="en-US" dirty="0">
                <a:solidFill>
                  <a:srgbClr val="000000"/>
                </a:solidFill>
                <a:latin typeface="Segoe UI" panose="020B0502040204020203" pitchFamily="34" charset="0"/>
              </a:rPr>
              <a:t>Create and configure a </a:t>
            </a:r>
            <a:r>
              <a:rPr lang="en-US" b="1" dirty="0">
                <a:solidFill>
                  <a:srgbClr val="000000"/>
                </a:solidFill>
                <a:latin typeface="Segoe UI" panose="020B0502040204020203" pitchFamily="34" charset="0"/>
              </a:rPr>
              <a:t>compute target</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Submit the scripts</a:t>
            </a:r>
            <a:r>
              <a:rPr lang="en-US" dirty="0">
                <a:solidFill>
                  <a:srgbClr val="000000"/>
                </a:solidFill>
                <a:latin typeface="Segoe UI" panose="020B0502040204020203" pitchFamily="34" charset="0"/>
              </a:rPr>
              <a:t> to the configured compute target to run in that environment. During training, the scripts can read from or write to </a:t>
            </a:r>
            <a:r>
              <a:rPr lang="en-US" b="1" dirty="0">
                <a:solidFill>
                  <a:srgbClr val="000000"/>
                </a:solidFill>
                <a:latin typeface="Segoe UI" panose="020B0502040204020203" pitchFamily="34" charset="0"/>
              </a:rPr>
              <a:t>datastore</a:t>
            </a:r>
            <a:r>
              <a:rPr lang="en-US" dirty="0">
                <a:solidFill>
                  <a:srgbClr val="000000"/>
                </a:solidFill>
                <a:latin typeface="Segoe UI" panose="020B0502040204020203" pitchFamily="34" charset="0"/>
              </a:rPr>
              <a:t>. And the records of execution are saved as </a:t>
            </a:r>
            <a:r>
              <a:rPr lang="en-US" b="1" dirty="0">
                <a:solidFill>
                  <a:srgbClr val="000000"/>
                </a:solidFill>
                <a:latin typeface="Segoe UI" panose="020B0502040204020203" pitchFamily="34" charset="0"/>
              </a:rPr>
              <a:t>runs</a:t>
            </a:r>
            <a:r>
              <a:rPr lang="en-US" dirty="0">
                <a:solidFill>
                  <a:srgbClr val="000000"/>
                </a:solidFill>
                <a:latin typeface="Segoe UI" panose="020B0502040204020203" pitchFamily="34" charset="0"/>
              </a:rPr>
              <a:t> in the </a:t>
            </a:r>
            <a:r>
              <a:rPr lang="en-US" b="1" dirty="0">
                <a:solidFill>
                  <a:srgbClr val="000000"/>
                </a:solidFill>
                <a:latin typeface="Segoe UI" panose="020B0502040204020203" pitchFamily="34" charset="0"/>
              </a:rPr>
              <a:t>workspace</a:t>
            </a:r>
            <a:r>
              <a:rPr lang="en-US" dirty="0">
                <a:solidFill>
                  <a:srgbClr val="000000"/>
                </a:solidFill>
                <a:latin typeface="Segoe UI" panose="020B0502040204020203" pitchFamily="34" charset="0"/>
              </a:rPr>
              <a:t> and grouped under </a:t>
            </a:r>
            <a:r>
              <a:rPr lang="en-US" b="1" dirty="0">
                <a:solidFill>
                  <a:srgbClr val="000000"/>
                </a:solidFill>
                <a:latin typeface="Segoe UI" panose="020B0502040204020203" pitchFamily="34" charset="0"/>
              </a:rPr>
              <a:t>experiments</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Query the experiment</a:t>
            </a:r>
            <a:r>
              <a:rPr lang="en-US" dirty="0">
                <a:solidFill>
                  <a:srgbClr val="000000"/>
                </a:solidFill>
                <a:latin typeface="Segoe UI" panose="020B0502040204020203" pitchFamily="34" charset="0"/>
              </a:rPr>
              <a:t> for logged metrics from the current and past runs. If the metrics don't indicate a desired outcome, loop back to step 1 and iterate on your scripts.</a:t>
            </a:r>
          </a:p>
          <a:p>
            <a:pPr>
              <a:buFont typeface="+mj-lt"/>
              <a:buAutoNum type="arabicPeriod"/>
            </a:pPr>
            <a:r>
              <a:rPr lang="en-US" dirty="0">
                <a:solidFill>
                  <a:srgbClr val="000000"/>
                </a:solidFill>
                <a:latin typeface="Segoe UI" panose="020B0502040204020203" pitchFamily="34" charset="0"/>
              </a:rPr>
              <a:t>After a satisfactory run is found, register the persisted model in the </a:t>
            </a:r>
            <a:r>
              <a:rPr lang="en-US" b="1" dirty="0">
                <a:solidFill>
                  <a:srgbClr val="000000"/>
                </a:solidFill>
                <a:latin typeface="Segoe UI" panose="020B0502040204020203" pitchFamily="34" charset="0"/>
              </a:rPr>
              <a:t>model registry</a:t>
            </a:r>
            <a:r>
              <a:rPr lang="en-US" dirty="0">
                <a:solidFill>
                  <a:srgbClr val="000000"/>
                </a:solidFill>
                <a:latin typeface="Segoe UI" panose="020B0502040204020203" pitchFamily="34" charset="0"/>
              </a:rPr>
              <a:t>.</a:t>
            </a:r>
          </a:p>
          <a:p>
            <a:pPr>
              <a:buFont typeface="+mj-lt"/>
              <a:buAutoNum type="arabicPeriod"/>
            </a:pPr>
            <a:r>
              <a:rPr lang="en-US" dirty="0">
                <a:solidFill>
                  <a:srgbClr val="000000"/>
                </a:solidFill>
                <a:latin typeface="Segoe UI" panose="020B0502040204020203" pitchFamily="34" charset="0"/>
              </a:rPr>
              <a:t>Develop a scoring script.</a:t>
            </a:r>
          </a:p>
          <a:p>
            <a:pPr>
              <a:buFont typeface="+mj-lt"/>
              <a:buAutoNum type="arabicPeriod"/>
            </a:pPr>
            <a:r>
              <a:rPr lang="en-US" b="1" dirty="0">
                <a:solidFill>
                  <a:srgbClr val="000000"/>
                </a:solidFill>
                <a:latin typeface="Segoe UI" panose="020B0502040204020203" pitchFamily="34" charset="0"/>
              </a:rPr>
              <a:t>Create an image</a:t>
            </a:r>
            <a:r>
              <a:rPr lang="en-US" dirty="0">
                <a:solidFill>
                  <a:srgbClr val="000000"/>
                </a:solidFill>
                <a:latin typeface="Segoe UI" panose="020B0502040204020203" pitchFamily="34" charset="0"/>
              </a:rPr>
              <a:t> and register it in the </a:t>
            </a:r>
            <a:r>
              <a:rPr lang="en-US" b="1" dirty="0">
                <a:solidFill>
                  <a:srgbClr val="000000"/>
                </a:solidFill>
                <a:latin typeface="Segoe UI" panose="020B0502040204020203" pitchFamily="34" charset="0"/>
              </a:rPr>
              <a:t>image registry</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Deploy the image</a:t>
            </a:r>
            <a:r>
              <a:rPr lang="en-US" dirty="0">
                <a:solidFill>
                  <a:srgbClr val="000000"/>
                </a:solidFill>
                <a:latin typeface="Segoe UI" panose="020B0502040204020203" pitchFamily="34" charset="0"/>
              </a:rPr>
              <a:t> as a </a:t>
            </a:r>
            <a:r>
              <a:rPr lang="en-US" b="1" dirty="0">
                <a:solidFill>
                  <a:srgbClr val="000000"/>
                </a:solidFill>
                <a:latin typeface="Segoe UI" panose="020B0502040204020203" pitchFamily="34" charset="0"/>
              </a:rPr>
              <a:t>web service</a:t>
            </a:r>
            <a:r>
              <a:rPr lang="en-US" dirty="0">
                <a:solidFill>
                  <a:srgbClr val="000000"/>
                </a:solidFill>
                <a:latin typeface="Segoe UI" panose="020B0502040204020203" pitchFamily="34" charset="0"/>
              </a:rPr>
              <a:t> in Azure.</a:t>
            </a:r>
          </a:p>
        </p:txBody>
      </p:sp>
      <p:sp>
        <p:nvSpPr>
          <p:cNvPr id="7" name="Rectangle 6">
            <a:extLst>
              <a:ext uri="{FF2B5EF4-FFF2-40B4-BE49-F238E27FC236}">
                <a16:creationId xmlns:a16="http://schemas.microsoft.com/office/drawing/2014/main" id="{E0685866-F0A4-4404-B56B-E64C2C2EDB11}"/>
              </a:ext>
            </a:extLst>
          </p:cNvPr>
          <p:cNvSpPr/>
          <p:nvPr/>
        </p:nvSpPr>
        <p:spPr>
          <a:xfrm>
            <a:off x="0" y="6116725"/>
            <a:ext cx="11211827" cy="369332"/>
          </a:xfrm>
          <a:prstGeom prst="rect">
            <a:avLst/>
          </a:prstGeom>
        </p:spPr>
        <p:txBody>
          <a:bodyPr wrap="square">
            <a:spAutoFit/>
          </a:bodyPr>
          <a:lstStyle/>
          <a:p>
            <a:r>
              <a:rPr lang="en-US" dirty="0">
                <a:hlinkClick r:id="rId3"/>
              </a:rPr>
              <a:t>https://docs.microsoft.com/en-us/azure/machine-learning/service/concept-azure-machine-learning-architecture</a:t>
            </a:r>
            <a:r>
              <a:rPr lang="en-US" dirty="0"/>
              <a:t> </a:t>
            </a:r>
          </a:p>
        </p:txBody>
      </p:sp>
    </p:spTree>
    <p:extLst>
      <p:ext uri="{BB962C8B-B14F-4D97-AF65-F5344CB8AC3E}">
        <p14:creationId xmlns:p14="http://schemas.microsoft.com/office/powerpoint/2010/main" val="3548246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p:txBody>
      </p:sp>
      <p:pic>
        <p:nvPicPr>
          <p:cNvPr id="6" name="Picture 5">
            <a:extLst>
              <a:ext uri="{FF2B5EF4-FFF2-40B4-BE49-F238E27FC236}">
                <a16:creationId xmlns:a16="http://schemas.microsoft.com/office/drawing/2014/main" id="{595EE731-D2FB-4F61-B745-CF38FD3F9B48}"/>
              </a:ext>
            </a:extLst>
          </p:cNvPr>
          <p:cNvPicPr>
            <a:picLocks noChangeAspect="1"/>
          </p:cNvPicPr>
          <p:nvPr/>
        </p:nvPicPr>
        <p:blipFill>
          <a:blip r:embed="rId3"/>
          <a:stretch>
            <a:fillRect/>
          </a:stretch>
        </p:blipFill>
        <p:spPr>
          <a:xfrm>
            <a:off x="2932758" y="-15362"/>
            <a:ext cx="8472394" cy="6873362"/>
          </a:xfrm>
          <a:prstGeom prst="rect">
            <a:avLst/>
          </a:prstGeom>
        </p:spPr>
      </p:pic>
      <p:sp>
        <p:nvSpPr>
          <p:cNvPr id="7" name="Title 1">
            <a:extLst>
              <a:ext uri="{FF2B5EF4-FFF2-40B4-BE49-F238E27FC236}">
                <a16:creationId xmlns:a16="http://schemas.microsoft.com/office/drawing/2014/main" id="{4ACBB267-7833-499D-A201-EA102D51539C}"/>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Our original discussion.  Delivering data to the Legacy IaaS Network (also called the Critical Data Zone) could be problematic with the requirements / firewalls involved in that zone.</a:t>
            </a:r>
          </a:p>
        </p:txBody>
      </p:sp>
    </p:spTree>
    <p:extLst>
      <p:ext uri="{BB962C8B-B14F-4D97-AF65-F5344CB8AC3E}">
        <p14:creationId xmlns:p14="http://schemas.microsoft.com/office/powerpoint/2010/main" val="3188840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80830"/>
          </a:xfrm>
        </p:spPr>
        <p:txBody>
          <a:bodyPr>
            <a:normAutofit fontScale="90000"/>
          </a:bodyPr>
          <a:lstStyle/>
          <a:p>
            <a:r>
              <a:rPr lang="en-US" dirty="0"/>
              <a:t>Setting up Azure Databricks</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680830"/>
            <a:ext cx="11180736" cy="6084179"/>
          </a:xfrm>
        </p:spPr>
        <p:txBody>
          <a:bodyPr/>
          <a:lstStyle/>
          <a:p>
            <a:r>
              <a:rPr lang="en-US" dirty="0"/>
              <a:t>Create Azure Databricks workspace in Azure portal</a:t>
            </a:r>
          </a:p>
          <a:p>
            <a:r>
              <a:rPr lang="en-US" dirty="0"/>
              <a:t>Launch your workspace</a:t>
            </a:r>
          </a:p>
          <a:p>
            <a:r>
              <a:rPr lang="en-US" dirty="0"/>
              <a:t>Import notebooks</a:t>
            </a:r>
          </a:p>
          <a:p>
            <a:pPr lvl="1"/>
            <a:r>
              <a:rPr lang="en-US" dirty="0"/>
              <a:t>Home&gt;</a:t>
            </a:r>
            <a:r>
              <a:rPr lang="en-US" dirty="0" err="1"/>
              <a:t>userid</a:t>
            </a:r>
            <a:r>
              <a:rPr lang="en-US" dirty="0"/>
              <a:t>&gt;import&gt;URL&gt;</a:t>
            </a:r>
          </a:p>
          <a:p>
            <a:pPr lvl="2"/>
            <a:r>
              <a:rPr lang="en-US" dirty="0">
                <a:hlinkClick r:id="rId2"/>
              </a:rPr>
              <a:t>https://docs.azuredatabricks.net/_static/notebooks/getting-started/quickstartusingpython.html</a:t>
            </a:r>
            <a:r>
              <a:rPr lang="en-US" dirty="0"/>
              <a:t> </a:t>
            </a:r>
          </a:p>
          <a:p>
            <a:pPr lvl="2"/>
            <a:r>
              <a:rPr lang="en-US" dirty="0">
                <a:hlinkClick r:id="rId3"/>
              </a:rPr>
              <a:t>https://docs.databricks.com/_static/notebooks/getting-started/popvspricelr.html</a:t>
            </a:r>
            <a:r>
              <a:rPr lang="en-US" dirty="0"/>
              <a:t> </a:t>
            </a:r>
          </a:p>
          <a:p>
            <a:pPr lvl="2"/>
            <a:r>
              <a:rPr lang="en-US" dirty="0">
                <a:hlinkClick r:id="rId4"/>
              </a:rPr>
              <a:t>https://github.com/delbert/azml/blob/master/ip21.dbc</a:t>
            </a:r>
            <a:r>
              <a:rPr lang="en-US" dirty="0"/>
              <a:t> </a:t>
            </a:r>
          </a:p>
          <a:p>
            <a:pPr lvl="2"/>
            <a:r>
              <a:rPr lang="en-US" dirty="0">
                <a:hlinkClick r:id="rId5"/>
              </a:rPr>
              <a:t>https://docs.azuredatabricks.net/_static/notebooks/mleap-model-export-demo-python.html</a:t>
            </a:r>
            <a:r>
              <a:rPr lang="en-US" dirty="0"/>
              <a:t> </a:t>
            </a:r>
          </a:p>
          <a:p>
            <a:r>
              <a:rPr lang="en-US" dirty="0"/>
              <a:t>Create a Databricks cluster</a:t>
            </a:r>
          </a:p>
          <a:p>
            <a:pPr lvl="1"/>
            <a:r>
              <a:rPr lang="en-US" dirty="0"/>
              <a:t>Clusters&gt;+Create Cluster&gt;</a:t>
            </a:r>
          </a:p>
          <a:p>
            <a:pPr lvl="1"/>
            <a:endParaRPr lang="en-US" dirty="0"/>
          </a:p>
          <a:p>
            <a:pPr lvl="2"/>
            <a:endParaRPr lang="en-US" dirty="0"/>
          </a:p>
        </p:txBody>
      </p:sp>
      <p:pic>
        <p:nvPicPr>
          <p:cNvPr id="4" name="Picture 3">
            <a:extLst>
              <a:ext uri="{FF2B5EF4-FFF2-40B4-BE49-F238E27FC236}">
                <a16:creationId xmlns:a16="http://schemas.microsoft.com/office/drawing/2014/main" id="{04B0D5C4-CFC1-4A82-B184-A5D8A7769347}"/>
              </a:ext>
            </a:extLst>
          </p:cNvPr>
          <p:cNvPicPr>
            <a:picLocks noChangeAspect="1"/>
          </p:cNvPicPr>
          <p:nvPr/>
        </p:nvPicPr>
        <p:blipFill>
          <a:blip r:embed="rId6"/>
          <a:stretch>
            <a:fillRect/>
          </a:stretch>
        </p:blipFill>
        <p:spPr>
          <a:xfrm>
            <a:off x="5044399" y="4230737"/>
            <a:ext cx="4025397" cy="2627263"/>
          </a:xfrm>
          <a:prstGeom prst="rect">
            <a:avLst/>
          </a:prstGeom>
        </p:spPr>
      </p:pic>
    </p:spTree>
    <p:extLst>
      <p:ext uri="{BB962C8B-B14F-4D97-AF65-F5344CB8AC3E}">
        <p14:creationId xmlns:p14="http://schemas.microsoft.com/office/powerpoint/2010/main" val="8266373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Getting started</a:t>
            </a:r>
            <a:endParaRPr lang="en-US" dirty="0">
              <a:effectLst/>
            </a:endParaRPr>
          </a:p>
          <a:p>
            <a:pPr lvl="1"/>
            <a:r>
              <a:rPr lang="en-US" dirty="0"/>
              <a:t>Workspace&gt;</a:t>
            </a:r>
            <a:r>
              <a:rPr lang="en-US" dirty="0" err="1"/>
              <a:t>userid</a:t>
            </a:r>
            <a:r>
              <a:rPr lang="en-US" dirty="0"/>
              <a:t>&gt;Quick Start Using Python</a:t>
            </a:r>
          </a:p>
          <a:p>
            <a:pPr lvl="2"/>
            <a:r>
              <a:rPr lang="en-US" dirty="0"/>
              <a:t>For each cell</a:t>
            </a:r>
          </a:p>
          <a:p>
            <a:pPr lvl="3"/>
            <a:r>
              <a:rPr lang="en-US" dirty="0"/>
              <a:t>Read over the description and code</a:t>
            </a:r>
          </a:p>
          <a:p>
            <a:pPr lvl="3"/>
            <a:r>
              <a:rPr lang="en-US" dirty="0"/>
              <a:t>Execute the cell</a:t>
            </a:r>
          </a:p>
          <a:p>
            <a:pPr lvl="2"/>
            <a:r>
              <a:rPr lang="en-US" dirty="0"/>
              <a:t>In Python and R, we work with </a:t>
            </a:r>
            <a:r>
              <a:rPr lang="en-US" dirty="0" err="1"/>
              <a:t>DataFrames</a:t>
            </a:r>
            <a:endParaRPr lang="en-US" dirty="0"/>
          </a:p>
          <a:p>
            <a:pPr lvl="2"/>
            <a:r>
              <a:rPr lang="en-US" dirty="0">
                <a:hlinkClick r:id="rId3"/>
              </a:rPr>
              <a:t>Difference between RDDs, </a:t>
            </a:r>
            <a:r>
              <a:rPr lang="en-US" dirty="0" err="1">
                <a:hlinkClick r:id="rId3"/>
              </a:rPr>
              <a:t>DataFrames</a:t>
            </a:r>
            <a:r>
              <a:rPr lang="en-US" dirty="0">
                <a:hlinkClick r:id="rId3"/>
              </a:rPr>
              <a:t>, and Datasets</a:t>
            </a:r>
            <a:endParaRPr lang="en-US" dirty="0"/>
          </a:p>
          <a:p>
            <a:pPr lvl="1"/>
            <a:endParaRPr lang="en-US" dirty="0"/>
          </a:p>
        </p:txBody>
      </p:sp>
      <p:pic>
        <p:nvPicPr>
          <p:cNvPr id="4" name="Picture 3">
            <a:extLst>
              <a:ext uri="{FF2B5EF4-FFF2-40B4-BE49-F238E27FC236}">
                <a16:creationId xmlns:a16="http://schemas.microsoft.com/office/drawing/2014/main" id="{E0217E46-2D9D-4321-8D6A-EAD4465EEC62}"/>
              </a:ext>
            </a:extLst>
          </p:cNvPr>
          <p:cNvPicPr>
            <a:picLocks noChangeAspect="1"/>
          </p:cNvPicPr>
          <p:nvPr/>
        </p:nvPicPr>
        <p:blipFill>
          <a:blip r:embed="rId4"/>
          <a:stretch>
            <a:fillRect/>
          </a:stretch>
        </p:blipFill>
        <p:spPr>
          <a:xfrm>
            <a:off x="4843603" y="3688003"/>
            <a:ext cx="4608214" cy="2578620"/>
          </a:xfrm>
          <a:prstGeom prst="rect">
            <a:avLst/>
          </a:prstGeom>
        </p:spPr>
      </p:pic>
      <p:sp>
        <p:nvSpPr>
          <p:cNvPr id="5" name="Rectangle: Rounded Corners 4">
            <a:extLst>
              <a:ext uri="{FF2B5EF4-FFF2-40B4-BE49-F238E27FC236}">
                <a16:creationId xmlns:a16="http://schemas.microsoft.com/office/drawing/2014/main" id="{002D568A-F72F-49E4-92FC-58F0B715716B}"/>
              </a:ext>
            </a:extLst>
          </p:cNvPr>
          <p:cNvSpPr/>
          <p:nvPr/>
        </p:nvSpPr>
        <p:spPr>
          <a:xfrm>
            <a:off x="2519318" y="4601594"/>
            <a:ext cx="1254518" cy="75143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Resilient</a:t>
            </a:r>
          </a:p>
          <a:p>
            <a:pPr algn="ctr"/>
            <a:r>
              <a:rPr lang="en-US" sz="1600" dirty="0"/>
              <a:t>Distributed</a:t>
            </a:r>
          </a:p>
          <a:p>
            <a:pPr algn="ctr"/>
            <a:r>
              <a:rPr lang="en-US" sz="1600" dirty="0"/>
              <a:t>Dataset</a:t>
            </a:r>
          </a:p>
        </p:txBody>
      </p:sp>
      <p:sp>
        <p:nvSpPr>
          <p:cNvPr id="6" name="Arrow: Right 5">
            <a:extLst>
              <a:ext uri="{FF2B5EF4-FFF2-40B4-BE49-F238E27FC236}">
                <a16:creationId xmlns:a16="http://schemas.microsoft.com/office/drawing/2014/main" id="{E2EC68D1-25F2-4B8C-AE77-B67E1BE41ED0}"/>
              </a:ext>
            </a:extLst>
          </p:cNvPr>
          <p:cNvSpPr/>
          <p:nvPr/>
        </p:nvSpPr>
        <p:spPr>
          <a:xfrm>
            <a:off x="4222906" y="4849452"/>
            <a:ext cx="464949" cy="2557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FC700916-CC2A-4008-B345-95664D112887}"/>
              </a:ext>
            </a:extLst>
          </p:cNvPr>
          <p:cNvSpPr txBox="1"/>
          <p:nvPr/>
        </p:nvSpPr>
        <p:spPr>
          <a:xfrm>
            <a:off x="961538" y="5943457"/>
            <a:ext cx="3493842" cy="646331"/>
          </a:xfrm>
          <a:prstGeom prst="rect">
            <a:avLst/>
          </a:prstGeom>
          <a:noFill/>
        </p:spPr>
        <p:txBody>
          <a:bodyPr wrap="none" rtlCol="0">
            <a:spAutoFit/>
          </a:bodyPr>
          <a:lstStyle/>
          <a:p>
            <a:r>
              <a:rPr lang="en-US" dirty="0"/>
              <a:t>All of these are immutable, but this</a:t>
            </a:r>
          </a:p>
          <a:p>
            <a:r>
              <a:rPr lang="en-US" dirty="0"/>
              <a:t>changes with Delta.</a:t>
            </a:r>
          </a:p>
        </p:txBody>
      </p:sp>
    </p:spTree>
    <p:extLst>
      <p:ext uri="{BB962C8B-B14F-4D97-AF65-F5344CB8AC3E}">
        <p14:creationId xmlns:p14="http://schemas.microsoft.com/office/powerpoint/2010/main" val="19849682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Doing regression on home prices, based on population</a:t>
            </a:r>
          </a:p>
          <a:p>
            <a:pPr lvl="1"/>
            <a:r>
              <a:rPr lang="en-US" dirty="0"/>
              <a:t>Workspace&gt;</a:t>
            </a:r>
            <a:r>
              <a:rPr lang="en-US" dirty="0" err="1"/>
              <a:t>userid</a:t>
            </a:r>
            <a:r>
              <a:rPr lang="en-US" dirty="0"/>
              <a:t>&gt;Pop vs. Price LR</a:t>
            </a:r>
          </a:p>
          <a:p>
            <a:pPr lvl="2"/>
            <a:r>
              <a:rPr lang="en-US" dirty="0"/>
              <a:t>For each cell</a:t>
            </a:r>
          </a:p>
          <a:p>
            <a:pPr lvl="3"/>
            <a:r>
              <a:rPr lang="en-US" dirty="0"/>
              <a:t>Read over the description and code</a:t>
            </a:r>
          </a:p>
          <a:p>
            <a:pPr lvl="3"/>
            <a:r>
              <a:rPr lang="en-US" dirty="0"/>
              <a:t>Execute the cell</a:t>
            </a:r>
          </a:p>
          <a:p>
            <a:r>
              <a:rPr lang="en-US" dirty="0"/>
              <a:t>Work with IP21 data and Spark SQL</a:t>
            </a:r>
          </a:p>
          <a:p>
            <a:pPr lvl="1"/>
            <a:r>
              <a:rPr lang="en-US" dirty="0"/>
              <a:t>Workspace&gt;</a:t>
            </a:r>
            <a:r>
              <a:rPr lang="en-US" dirty="0" err="1"/>
              <a:t>userid</a:t>
            </a:r>
            <a:r>
              <a:rPr lang="en-US" dirty="0"/>
              <a:t>&gt;ip21</a:t>
            </a:r>
          </a:p>
          <a:p>
            <a:pPr lvl="2"/>
            <a:r>
              <a:rPr lang="en-US" dirty="0"/>
              <a:t>For each cell</a:t>
            </a:r>
          </a:p>
          <a:p>
            <a:pPr lvl="3"/>
            <a:r>
              <a:rPr lang="en-US" dirty="0"/>
              <a:t>Read over the description and code</a:t>
            </a:r>
          </a:p>
          <a:p>
            <a:pPr lvl="3"/>
            <a:r>
              <a:rPr lang="en-US" dirty="0"/>
              <a:t>Execute the cell</a:t>
            </a:r>
          </a:p>
          <a:p>
            <a:pPr lvl="2"/>
            <a:r>
              <a:rPr lang="en-US" dirty="0"/>
              <a:t>Notice the magic:  %</a:t>
            </a:r>
            <a:r>
              <a:rPr lang="en-US" dirty="0" err="1"/>
              <a:t>sql</a:t>
            </a:r>
            <a:r>
              <a:rPr lang="en-US" dirty="0"/>
              <a:t> to invoke Spark SQL</a:t>
            </a:r>
          </a:p>
          <a:p>
            <a:pPr lvl="2"/>
            <a:r>
              <a:rPr lang="en-US" dirty="0"/>
              <a:t>Notice creating an external table first, then once column conversions are set, create table as select (CTAS)</a:t>
            </a:r>
          </a:p>
          <a:p>
            <a:pPr lvl="2"/>
            <a:r>
              <a:rPr lang="en-US" dirty="0"/>
              <a:t>Finally, notice the different charting/graphing options for formatting output cells</a:t>
            </a:r>
          </a:p>
          <a:p>
            <a:pPr lvl="1"/>
            <a:endParaRPr lang="en-US" dirty="0"/>
          </a:p>
        </p:txBody>
      </p:sp>
    </p:spTree>
    <p:extLst>
      <p:ext uri="{BB962C8B-B14F-4D97-AF65-F5344CB8AC3E}">
        <p14:creationId xmlns:p14="http://schemas.microsoft.com/office/powerpoint/2010/main" val="31098600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Operationalize Model</a:t>
            </a:r>
          </a:p>
          <a:p>
            <a:pPr lvl="1"/>
            <a:r>
              <a:rPr lang="en-US" dirty="0"/>
              <a:t>Workspace&gt;</a:t>
            </a:r>
            <a:r>
              <a:rPr lang="en-US" dirty="0" err="1"/>
              <a:t>userid</a:t>
            </a:r>
            <a:r>
              <a:rPr lang="en-US" dirty="0"/>
              <a:t>&gt;</a:t>
            </a:r>
            <a:r>
              <a:rPr lang="sv-SE" dirty="0"/>
              <a:t>MLeap Model Export Demo (Python) </a:t>
            </a:r>
            <a:endParaRPr lang="en-US" dirty="0"/>
          </a:p>
          <a:p>
            <a:pPr lvl="2"/>
            <a:r>
              <a:rPr lang="en-US" dirty="0"/>
              <a:t>For each cell</a:t>
            </a:r>
          </a:p>
          <a:p>
            <a:pPr lvl="3"/>
            <a:r>
              <a:rPr lang="en-US" dirty="0"/>
              <a:t>Read over the description and code</a:t>
            </a:r>
          </a:p>
          <a:p>
            <a:pPr lvl="3"/>
            <a:r>
              <a:rPr lang="en-US" dirty="0"/>
              <a:t>Execute the cell</a:t>
            </a:r>
          </a:p>
          <a:p>
            <a:pPr lvl="1"/>
            <a:endParaRPr lang="en-US" dirty="0"/>
          </a:p>
        </p:txBody>
      </p:sp>
    </p:spTree>
    <p:extLst>
      <p:ext uri="{BB962C8B-B14F-4D97-AF65-F5344CB8AC3E}">
        <p14:creationId xmlns:p14="http://schemas.microsoft.com/office/powerpoint/2010/main" val="32739712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Do you have a use case for Cosmos DB + ADB?  </a:t>
            </a:r>
          </a:p>
          <a:p>
            <a:pPr lvl="1"/>
            <a:r>
              <a:rPr lang="en-US" dirty="0"/>
              <a:t>(hint:  large-scale data </a:t>
            </a:r>
            <a:r>
              <a:rPr lang="en-US" dirty="0" err="1"/>
              <a:t>injestion</a:t>
            </a:r>
            <a:r>
              <a:rPr lang="en-US" dirty="0"/>
              <a:t>, perhaps from Power Inverters?)</a:t>
            </a:r>
          </a:p>
          <a:p>
            <a:pPr lvl="1"/>
            <a:r>
              <a:rPr lang="en-US" dirty="0"/>
              <a:t>(hint2:  see next slide)</a:t>
            </a:r>
          </a:p>
          <a:p>
            <a:r>
              <a:rPr lang="en-US" dirty="0"/>
              <a:t>Check out </a:t>
            </a:r>
            <a:r>
              <a:rPr lang="en-US" dirty="0" err="1"/>
              <a:t>MMLSpark</a:t>
            </a:r>
            <a:r>
              <a:rPr lang="en-US" dirty="0"/>
              <a:t> – can you create an </a:t>
            </a:r>
            <a:r>
              <a:rPr lang="en-US" dirty="0" err="1"/>
              <a:t>MMLSpark</a:t>
            </a:r>
            <a:r>
              <a:rPr lang="en-US" dirty="0"/>
              <a:t> cluster and try out the sample notebook? </a:t>
            </a:r>
          </a:p>
          <a:p>
            <a:pPr lvl="1"/>
            <a:r>
              <a:rPr lang="en-US" dirty="0">
                <a:hlinkClick r:id="rId2"/>
              </a:rPr>
              <a:t>http://aka.ms/spark</a:t>
            </a:r>
            <a:endParaRPr lang="en-US" dirty="0"/>
          </a:p>
          <a:p>
            <a:pPr lvl="1"/>
            <a:r>
              <a:rPr lang="en-US" dirty="0">
                <a:hlinkClick r:id="rId3"/>
              </a:rPr>
              <a:t>https://github.com/Azure/mmlspark/</a:t>
            </a:r>
            <a:r>
              <a:rPr lang="en-US" dirty="0"/>
              <a:t>  </a:t>
            </a:r>
          </a:p>
          <a:p>
            <a:r>
              <a:rPr lang="en-US" dirty="0"/>
              <a:t>If you need to create a deep neural network and train it on </a:t>
            </a:r>
            <a:r>
              <a:rPr lang="en-US" dirty="0" err="1"/>
              <a:t>PyTorch</a:t>
            </a:r>
            <a:r>
              <a:rPr lang="en-US" dirty="0"/>
              <a:t> or TensorFlow in ADB, how would you do it?</a:t>
            </a:r>
          </a:p>
        </p:txBody>
      </p:sp>
    </p:spTree>
    <p:extLst>
      <p:ext uri="{BB962C8B-B14F-4D97-AF65-F5344CB8AC3E}">
        <p14:creationId xmlns:p14="http://schemas.microsoft.com/office/powerpoint/2010/main" val="2760168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Other Azure Databricks topic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199" y="591377"/>
            <a:ext cx="10909515" cy="6248367"/>
          </a:xfrm>
        </p:spPr>
        <p:txBody>
          <a:bodyPr>
            <a:normAutofit/>
          </a:bodyPr>
          <a:lstStyle/>
          <a:p>
            <a:r>
              <a:rPr lang="en-US" dirty="0"/>
              <a:t>Azure Cosmos DB connector for Spark</a:t>
            </a:r>
          </a:p>
          <a:p>
            <a:pPr lvl="1"/>
            <a:r>
              <a:rPr lang="en-US" dirty="0">
                <a:hlinkClick r:id="rId2"/>
              </a:rPr>
              <a:t>https://github.com/Azure/azure-cosmosdb-spark#using-databricks-notebooks</a:t>
            </a:r>
            <a:endParaRPr lang="en-US" dirty="0"/>
          </a:p>
          <a:p>
            <a:pPr lvl="1"/>
            <a:r>
              <a:rPr lang="en-US" dirty="0"/>
              <a:t>Includes flight predictions example and a change feed example, among others </a:t>
            </a:r>
          </a:p>
          <a:p>
            <a:pPr lvl="1"/>
            <a:endParaRPr lang="en-US" dirty="0"/>
          </a:p>
        </p:txBody>
      </p:sp>
      <p:pic>
        <p:nvPicPr>
          <p:cNvPr id="1026" name="Picture 2" descr="https://camo.githubusercontent.com/a57600f0b0fcd900114a356f4cc653a5ee519860/68747470733a2f2f7261772e67697468756275736572636f6e74656e742e636f6d2f64656e6e79676c65652f6e6f7465626f6f6b732f6d61737465722f696d616765732f417a7572652d446f63756d656e7444422d537061726b5f436f6e6e6563746f725f363030783236362e706e67">
            <a:extLst>
              <a:ext uri="{FF2B5EF4-FFF2-40B4-BE49-F238E27FC236}">
                <a16:creationId xmlns:a16="http://schemas.microsoft.com/office/drawing/2014/main" id="{98F7298F-E563-4505-9681-B83E588F7C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198" y="2816740"/>
            <a:ext cx="4054832" cy="17976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B51D1D3-E503-4DE4-97F2-F292FAF65F1A}"/>
              </a:ext>
            </a:extLst>
          </p:cNvPr>
          <p:cNvPicPr>
            <a:picLocks noChangeAspect="1"/>
          </p:cNvPicPr>
          <p:nvPr/>
        </p:nvPicPr>
        <p:blipFill>
          <a:blip r:embed="rId4"/>
          <a:stretch>
            <a:fillRect/>
          </a:stretch>
        </p:blipFill>
        <p:spPr>
          <a:xfrm>
            <a:off x="6096000" y="2156433"/>
            <a:ext cx="5252023" cy="3113606"/>
          </a:xfrm>
          <a:prstGeom prst="rect">
            <a:avLst/>
          </a:prstGeom>
        </p:spPr>
      </p:pic>
    </p:spTree>
    <p:extLst>
      <p:ext uri="{BB962C8B-B14F-4D97-AF65-F5344CB8AC3E}">
        <p14:creationId xmlns:p14="http://schemas.microsoft.com/office/powerpoint/2010/main" val="25384974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4ED49-2041-4C53-8AA6-12D33D776F6F}"/>
              </a:ext>
            </a:extLst>
          </p:cNvPr>
          <p:cNvSpPr>
            <a:spLocks noGrp="1"/>
          </p:cNvSpPr>
          <p:nvPr>
            <p:ph type="title"/>
          </p:nvPr>
        </p:nvSpPr>
        <p:spPr>
          <a:xfrm>
            <a:off x="838200" y="18256"/>
            <a:ext cx="10515600" cy="524185"/>
          </a:xfrm>
        </p:spPr>
        <p:txBody>
          <a:bodyPr>
            <a:normAutofit fontScale="90000"/>
          </a:bodyPr>
          <a:lstStyle/>
          <a:p>
            <a:r>
              <a:rPr lang="en-US" dirty="0"/>
              <a:t>Cognitive Services / Knowledge Mining</a:t>
            </a:r>
          </a:p>
        </p:txBody>
      </p:sp>
    </p:spTree>
    <p:extLst>
      <p:ext uri="{BB962C8B-B14F-4D97-AF65-F5344CB8AC3E}">
        <p14:creationId xmlns:p14="http://schemas.microsoft.com/office/powerpoint/2010/main" val="30878894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199" y="365125"/>
            <a:ext cx="10986421" cy="1325563"/>
          </a:xfrm>
        </p:spPr>
        <p:txBody>
          <a:bodyPr>
            <a:normAutofit fontScale="90000"/>
          </a:bodyPr>
          <a:lstStyle/>
          <a:p>
            <a:r>
              <a:rPr lang="en-US" dirty="0"/>
              <a:t>Cognitive Services capabilities</a:t>
            </a:r>
            <a:br>
              <a:rPr lang="en-US" dirty="0"/>
            </a:br>
            <a:r>
              <a:rPr lang="en-US" sz="2400" dirty="0"/>
              <a:t>Infuse your apps, websites, bots, and </a:t>
            </a:r>
            <a:r>
              <a:rPr lang="en-US" sz="2400" dirty="0">
                <a:solidFill>
                  <a:srgbClr val="FF0000"/>
                </a:solidFill>
              </a:rPr>
              <a:t>machine learning pipelines </a:t>
            </a:r>
            <a:r>
              <a:rPr lang="en-US" sz="2400" dirty="0"/>
              <a:t>with human-like intelligence</a:t>
            </a:r>
            <a:br>
              <a:rPr lang="en-US" sz="2400" dirty="0"/>
            </a:br>
            <a:endParaRPr lang="en-US" sz="2400" dirty="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solidFill>
                      <a:schemeClr val="accent2">
                        <a:lumMod val="75000"/>
                      </a:schemeClr>
                    </a:soli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algn="ctr" defTabSz="951004" fontAlgn="base">
                  <a:lnSpc>
                    <a:spcPct val="90000"/>
                  </a:lnSpc>
                  <a:spcBef>
                    <a:spcPct val="0"/>
                  </a:spcBef>
                  <a:spcAft>
                    <a:spcPts val="800"/>
                  </a:spcAft>
                  <a:defRPr/>
                </a:pPr>
                <a:r>
                  <a:rPr lang="en-US" sz="1100" kern="0" dirty="0">
                    <a:solidFill>
                      <a:schemeClr val="accent2">
                        <a:lumMod val="75000"/>
                      </a:schemeClr>
                    </a:solidFill>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36" name="Rectangle 135">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37" name="Rectangle 136">
            <a:extLst>
              <a:ext uri="{FF2B5EF4-FFF2-40B4-BE49-F238E27FC236}">
                <a16:creationId xmlns:a16="http://schemas.microsoft.com/office/drawing/2014/main" id="{0FDA152A-EC7E-4C0F-9092-C3081B40F56B}"/>
              </a:ext>
            </a:extLst>
          </p:cNvPr>
          <p:cNvSpPr/>
          <p:nvPr/>
        </p:nvSpPr>
        <p:spPr bwMode="auto">
          <a:xfrm>
            <a:off x="633009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3" name="Rectangle 142">
            <a:extLst>
              <a:ext uri="{FF2B5EF4-FFF2-40B4-BE49-F238E27FC236}">
                <a16:creationId xmlns:a16="http://schemas.microsoft.com/office/drawing/2014/main" id="{2EFD137A-3997-4F91-86CD-D688C27D42BB}"/>
              </a:ext>
            </a:extLst>
          </p:cNvPr>
          <p:cNvSpPr/>
          <p:nvPr/>
        </p:nvSpPr>
        <p:spPr bwMode="auto">
          <a:xfrm>
            <a:off x="8470996" y="1318724"/>
            <a:ext cx="3474720"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34" name="Rectangle 133">
            <a:extLst>
              <a:ext uri="{FF2B5EF4-FFF2-40B4-BE49-F238E27FC236}">
                <a16:creationId xmlns:a16="http://schemas.microsoft.com/office/drawing/2014/main" id="{E495E428-8598-4231-BAD8-8DBA852340E5}"/>
              </a:ext>
            </a:extLst>
          </p:cNvPr>
          <p:cNvSpPr/>
          <p:nvPr/>
        </p:nvSpPr>
        <p:spPr>
          <a:xfrm>
            <a:off x="4484028" y="4522078"/>
            <a:ext cx="162256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age</a:t>
            </a:r>
          </a:p>
        </p:txBody>
      </p:sp>
      <p:grpSp>
        <p:nvGrpSpPr>
          <p:cNvPr id="138" name="Group 137">
            <a:extLst>
              <a:ext uri="{FF2B5EF4-FFF2-40B4-BE49-F238E27FC236}">
                <a16:creationId xmlns:a16="http://schemas.microsoft.com/office/drawing/2014/main" id="{3EBF39E0-9116-4873-B74D-8566589EDCCC}"/>
              </a:ext>
            </a:extLst>
          </p:cNvPr>
          <p:cNvGrpSpPr/>
          <p:nvPr/>
        </p:nvGrpSpPr>
        <p:grpSpPr>
          <a:xfrm>
            <a:off x="4991121" y="4000944"/>
            <a:ext cx="507755" cy="435880"/>
            <a:chOff x="2488014" y="1320237"/>
            <a:chExt cx="4696411" cy="4187931"/>
          </a:xfrm>
        </p:grpSpPr>
        <p:sp>
          <p:nvSpPr>
            <p:cNvPr id="139" name="Hexagon 138">
              <a:extLst>
                <a:ext uri="{FF2B5EF4-FFF2-40B4-BE49-F238E27FC236}">
                  <a16:creationId xmlns:a16="http://schemas.microsoft.com/office/drawing/2014/main" id="{5F406E0D-B6DE-4542-B85B-755E8BE3523C}"/>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Snip Single Corner Rectangle 26">
              <a:extLst>
                <a:ext uri="{FF2B5EF4-FFF2-40B4-BE49-F238E27FC236}">
                  <a16:creationId xmlns:a16="http://schemas.microsoft.com/office/drawing/2014/main" id="{F3FE8BF7-B2F8-4227-9EB9-38F7A69D19DB}"/>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D91CBCE3-7468-4880-A409-D205352F2BF9}"/>
                </a:ext>
              </a:extLst>
            </p:cNvPr>
            <p:cNvGrpSpPr/>
            <p:nvPr/>
          </p:nvGrpSpPr>
          <p:grpSpPr>
            <a:xfrm>
              <a:off x="4271147" y="2716509"/>
              <a:ext cx="790232" cy="1472559"/>
              <a:chOff x="4917030" y="1019829"/>
              <a:chExt cx="123056" cy="229308"/>
            </a:xfrm>
          </p:grpSpPr>
          <p:sp>
            <p:nvSpPr>
              <p:cNvPr id="144" name="Freeform: Shape 143">
                <a:extLst>
                  <a:ext uri="{FF2B5EF4-FFF2-40B4-BE49-F238E27FC236}">
                    <a16:creationId xmlns:a16="http://schemas.microsoft.com/office/drawing/2014/main" id="{6B5F0929-410E-46D8-91DE-06821647946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96CE2ACC-FABD-4093-8702-A8C7BCE4BD2F}"/>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C2B629F8-D524-4A30-9000-6DF20533D3C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Freeform: Shape 147">
                <a:extLst>
                  <a:ext uri="{FF2B5EF4-FFF2-40B4-BE49-F238E27FC236}">
                    <a16:creationId xmlns:a16="http://schemas.microsoft.com/office/drawing/2014/main" id="{D0477F2A-0465-4735-BAD4-1969D14590E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2" name="Right Triangle 141">
              <a:extLst>
                <a:ext uri="{FF2B5EF4-FFF2-40B4-BE49-F238E27FC236}">
                  <a16:creationId xmlns:a16="http://schemas.microsoft.com/office/drawing/2014/main" id="{BF45CEAF-95B4-465E-878B-0805D0F6FCC4}"/>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70" name="Group 269">
            <a:extLst>
              <a:ext uri="{FF2B5EF4-FFF2-40B4-BE49-F238E27FC236}">
                <a16:creationId xmlns:a16="http://schemas.microsoft.com/office/drawing/2014/main" id="{1F707A0E-EBD6-4AC2-A00F-4CA7B6831760}"/>
              </a:ext>
            </a:extLst>
          </p:cNvPr>
          <p:cNvGrpSpPr/>
          <p:nvPr/>
        </p:nvGrpSpPr>
        <p:grpSpPr>
          <a:xfrm>
            <a:off x="2460504" y="4020173"/>
            <a:ext cx="1330814" cy="727049"/>
            <a:chOff x="2520437" y="2198161"/>
            <a:chExt cx="1330814" cy="727049"/>
          </a:xfrm>
        </p:grpSpPr>
        <p:sp>
          <p:nvSpPr>
            <p:cNvPr id="271" name="Rectangle 270">
              <a:extLst>
                <a:ext uri="{FF2B5EF4-FFF2-40B4-BE49-F238E27FC236}">
                  <a16:creationId xmlns:a16="http://schemas.microsoft.com/office/drawing/2014/main" id="{9AD7FDE5-E623-48DC-8914-03F0618E4AD5}"/>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272" name="Group 271">
              <a:extLst>
                <a:ext uri="{FF2B5EF4-FFF2-40B4-BE49-F238E27FC236}">
                  <a16:creationId xmlns:a16="http://schemas.microsoft.com/office/drawing/2014/main" id="{DC0A4B81-3AF4-4932-865E-06B45F5D88B8}"/>
                </a:ext>
              </a:extLst>
            </p:cNvPr>
            <p:cNvGrpSpPr/>
            <p:nvPr/>
          </p:nvGrpSpPr>
          <p:grpSpPr>
            <a:xfrm>
              <a:off x="2935903" y="2198161"/>
              <a:ext cx="423284" cy="416651"/>
              <a:chOff x="5279190" y="5401430"/>
              <a:chExt cx="1101836" cy="1106637"/>
            </a:xfrm>
          </p:grpSpPr>
          <p:sp>
            <p:nvSpPr>
              <p:cNvPr id="273" name="Freeform: Shape 815">
                <a:extLst>
                  <a:ext uri="{FF2B5EF4-FFF2-40B4-BE49-F238E27FC236}">
                    <a16:creationId xmlns:a16="http://schemas.microsoft.com/office/drawing/2014/main" id="{07C4F03A-58E5-454A-AC1E-467974685FF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4" name="Freeform: Shape 816">
                <a:extLst>
                  <a:ext uri="{FF2B5EF4-FFF2-40B4-BE49-F238E27FC236}">
                    <a16:creationId xmlns:a16="http://schemas.microsoft.com/office/drawing/2014/main" id="{54605F23-E3F0-4DA2-AEAF-C8A905FE75D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5" name="Freeform: Shape 817">
                <a:extLst>
                  <a:ext uri="{FF2B5EF4-FFF2-40B4-BE49-F238E27FC236}">
                    <a16:creationId xmlns:a16="http://schemas.microsoft.com/office/drawing/2014/main" id="{BB11126C-B688-48EB-B60F-BD89518AB719}"/>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6" name="Freeform: Shape 818">
                <a:extLst>
                  <a:ext uri="{FF2B5EF4-FFF2-40B4-BE49-F238E27FC236}">
                    <a16:creationId xmlns:a16="http://schemas.microsoft.com/office/drawing/2014/main" id="{CA725C66-B312-4653-9868-6815CE2A73BC}"/>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7" name="Freeform: Shape 819">
                <a:extLst>
                  <a:ext uri="{FF2B5EF4-FFF2-40B4-BE49-F238E27FC236}">
                    <a16:creationId xmlns:a16="http://schemas.microsoft.com/office/drawing/2014/main" id="{6AEE122C-99EE-4B2E-BE2A-E6B7A3B1842A}"/>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cxnSp>
        <p:nvCxnSpPr>
          <p:cNvPr id="280" name="Straight Arrow Connector 279">
            <a:extLst>
              <a:ext uri="{FF2B5EF4-FFF2-40B4-BE49-F238E27FC236}">
                <a16:creationId xmlns:a16="http://schemas.microsoft.com/office/drawing/2014/main" id="{7910CEFA-C471-4C66-8C07-4F385DACF086}"/>
              </a:ext>
            </a:extLst>
          </p:cNvPr>
          <p:cNvCxnSpPr>
            <a:cxnSpLocks/>
          </p:cNvCxnSpPr>
          <p:nvPr/>
        </p:nvCxnSpPr>
        <p:spPr>
          <a:xfrm>
            <a:off x="1852206" y="4237723"/>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26" name="Right Bracket 225">
            <a:extLst>
              <a:ext uri="{FF2B5EF4-FFF2-40B4-BE49-F238E27FC236}">
                <a16:creationId xmlns:a16="http://schemas.microsoft.com/office/drawing/2014/main" id="{B9F0A461-B58D-45D4-81B4-498EDF8B2241}"/>
              </a:ext>
            </a:extLst>
          </p:cNvPr>
          <p:cNvSpPr/>
          <p:nvPr/>
        </p:nvSpPr>
        <p:spPr>
          <a:xfrm>
            <a:off x="1731228" y="2667390"/>
            <a:ext cx="120979" cy="2160179"/>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TextBox 123">
            <a:extLst>
              <a:ext uri="{FF2B5EF4-FFF2-40B4-BE49-F238E27FC236}">
                <a16:creationId xmlns:a16="http://schemas.microsoft.com/office/drawing/2014/main" id="{4423BE3B-B95C-4773-B44E-BC98A6716BD8}"/>
              </a:ext>
            </a:extLst>
          </p:cNvPr>
          <p:cNvSpPr txBox="1"/>
          <p:nvPr/>
        </p:nvSpPr>
        <p:spPr>
          <a:xfrm>
            <a:off x="289876" y="3370659"/>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 (unstructured)</a:t>
            </a:r>
          </a:p>
        </p:txBody>
      </p:sp>
      <p:sp>
        <p:nvSpPr>
          <p:cNvPr id="151" name="TextBox 150">
            <a:extLst>
              <a:ext uri="{FF2B5EF4-FFF2-40B4-BE49-F238E27FC236}">
                <a16:creationId xmlns:a16="http://schemas.microsoft.com/office/drawing/2014/main" id="{82ED247B-E5E7-4EEA-8255-99322BCA8E6D}"/>
              </a:ext>
            </a:extLst>
          </p:cNvPr>
          <p:cNvSpPr txBox="1"/>
          <p:nvPr/>
        </p:nvSpPr>
        <p:spPr>
          <a:xfrm>
            <a:off x="345532" y="446031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lang="en-US" sz="1000">
                <a:solidFill>
                  <a:srgbClr val="505050"/>
                </a:solidFill>
              </a:rPr>
              <a:t>Files</a:t>
            </a:r>
            <a:r>
              <a:rPr kumimoji="0" lang="en-US" sz="1000" b="0" i="0" u="none" strike="noStrike" kern="0" cap="none" spc="0" normalizeH="0" baseline="0" noProof="0">
                <a:ln>
                  <a:noFill/>
                </a:ln>
                <a:solidFill>
                  <a:schemeClr val="accent6"/>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888412" y="2927029"/>
            <a:ext cx="247721" cy="366053"/>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endParaRPr lang="en-US"/>
            </a:p>
          </p:txBody>
        </p:sp>
      </p:grpSp>
      <p:cxnSp>
        <p:nvCxnSpPr>
          <p:cNvPr id="183" name="Straight Arrow Connector 182">
            <a:extLst>
              <a:ext uri="{FF2B5EF4-FFF2-40B4-BE49-F238E27FC236}">
                <a16:creationId xmlns:a16="http://schemas.microsoft.com/office/drawing/2014/main" id="{C8C08F57-660F-4F6D-9876-F23723C2B9D3}"/>
              </a:ext>
            </a:extLst>
          </p:cNvPr>
          <p:cNvCxnSpPr>
            <a:cxnSpLocks/>
          </p:cNvCxnSpPr>
          <p:nvPr/>
        </p:nvCxnSpPr>
        <p:spPr>
          <a:xfrm>
            <a:off x="3625283" y="4237723"/>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28487684-1504-4124-91E0-5B72D49A9F13}"/>
              </a:ext>
            </a:extLst>
          </p:cNvPr>
          <p:cNvGrpSpPr/>
          <p:nvPr/>
        </p:nvGrpSpPr>
        <p:grpSpPr>
          <a:xfrm>
            <a:off x="888410" y="4056961"/>
            <a:ext cx="247724" cy="303248"/>
            <a:chOff x="965200" y="3436897"/>
            <a:chExt cx="528881" cy="647424"/>
          </a:xfrm>
        </p:grpSpPr>
        <p:grpSp>
          <p:nvGrpSpPr>
            <p:cNvPr id="203" name="Group 202">
              <a:extLst>
                <a:ext uri="{FF2B5EF4-FFF2-40B4-BE49-F238E27FC236}">
                  <a16:creationId xmlns:a16="http://schemas.microsoft.com/office/drawing/2014/main" id="{CFA3E104-D9F0-40B1-8903-8329CEE91F4C}"/>
                </a:ext>
              </a:extLst>
            </p:cNvPr>
            <p:cNvGrpSpPr/>
            <p:nvPr/>
          </p:nvGrpSpPr>
          <p:grpSpPr>
            <a:xfrm flipH="1">
              <a:off x="965200" y="3436897"/>
              <a:ext cx="528881" cy="647424"/>
              <a:chOff x="3003960" y="3685414"/>
              <a:chExt cx="403310" cy="493707"/>
            </a:xfrm>
          </p:grpSpPr>
          <p:sp>
            <p:nvSpPr>
              <p:cNvPr id="208" name="Snip Single Corner Rectangle 26">
                <a:extLst>
                  <a:ext uri="{FF2B5EF4-FFF2-40B4-BE49-F238E27FC236}">
                    <a16:creationId xmlns:a16="http://schemas.microsoft.com/office/drawing/2014/main" id="{3DAFCC92-5C23-48E3-99FA-F2A274F5B371}"/>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Triangle 27">
                <a:extLst>
                  <a:ext uri="{FF2B5EF4-FFF2-40B4-BE49-F238E27FC236}">
                    <a16:creationId xmlns:a16="http://schemas.microsoft.com/office/drawing/2014/main" id="{2D95F100-A92A-4C00-A462-3EBDC91AB4F2}"/>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C8F69DE1-4C0A-44C0-B449-8E66946DB823}"/>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2AFF3E29-D06A-4987-915A-3DCAD489041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E7BC054-A013-4407-B801-2F205D8F12E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130EC1A1-6B6C-4C4D-B400-5AA3727C864D}"/>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31" name="Title 2">
            <a:extLst>
              <a:ext uri="{FF2B5EF4-FFF2-40B4-BE49-F238E27FC236}">
                <a16:creationId xmlns:a16="http://schemas.microsoft.com/office/drawing/2014/main" id="{47CFF4C5-0470-459B-81C6-B1E9D6936623}"/>
              </a:ext>
            </a:extLst>
          </p:cNvPr>
          <p:cNvSpPr txBox="1">
            <a:spLocks/>
          </p:cNvSpPr>
          <p:nvPr/>
        </p:nvSpPr>
        <p:spPr>
          <a:xfrm>
            <a:off x="289876" y="840289"/>
            <a:ext cx="11655840" cy="384864"/>
          </a:xfrm>
          <a:prstGeom prst="rect">
            <a:avLst/>
          </a:prstGeom>
        </p:spPr>
        <p:txBody>
          <a:bodyPr vert="horz" wrap="square" lIns="146304" tIns="91440" rIns="146304" bIns="91440" rtlCol="0" anchor="t">
            <a:noAutofit/>
          </a:bodyPr>
          <a:lstStyle>
            <a:lvl1pPr algn="ctr" defTabSz="914016" rtl="0" eaLnBrk="1" latinLnBrk="0" hangingPunct="1">
              <a:lnSpc>
                <a:spcPct val="90000"/>
              </a:lnSpc>
              <a:spcBef>
                <a:spcPct val="0"/>
              </a:spcBef>
              <a:buNone/>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sz="1800"/>
              <a:t>Knowledge Mining</a:t>
            </a:r>
          </a:p>
        </p:txBody>
      </p:sp>
      <p:sp>
        <p:nvSpPr>
          <p:cNvPr id="130" name="TextBox 129">
            <a:extLst>
              <a:ext uri="{FF2B5EF4-FFF2-40B4-BE49-F238E27FC236}">
                <a16:creationId xmlns:a16="http://schemas.microsoft.com/office/drawing/2014/main" id="{A760FEB5-F62B-4A32-9F39-AD666FDA6954}"/>
              </a:ext>
            </a:extLst>
          </p:cNvPr>
          <p:cNvSpPr txBox="1"/>
          <p:nvPr/>
        </p:nvSpPr>
        <p:spPr>
          <a:xfrm>
            <a:off x="6531850" y="4315141"/>
            <a:ext cx="1716557" cy="461665"/>
          </a:xfrm>
          <a:prstGeom prst="rect">
            <a:avLst/>
          </a:prstGeom>
          <a:noFill/>
        </p:spPr>
        <p:txBody>
          <a:bodyPr wrap="square" lIns="0" tIns="0" rIns="0" bIns="0" rtlCol="0">
            <a:spAutoFit/>
          </a:bodyPr>
          <a:lstStyle/>
          <a:p>
            <a:pPr marL="0" marR="0" lvl="0" indent="0" algn="ctr" defTabSz="699111" rtl="0" eaLnBrk="1" fontAlgn="auto" latinLnBrk="0" hangingPunct="1">
              <a:lnSpc>
                <a:spcPct val="100000"/>
              </a:lnSpc>
              <a:spcBef>
                <a:spcPts val="900"/>
              </a:spcBef>
              <a:spcAft>
                <a:spcPts val="900"/>
              </a:spcAft>
              <a:buClrTx/>
              <a:buSzTx/>
              <a:buFontTx/>
              <a:buNone/>
              <a:tabLst/>
              <a:defRPr/>
            </a:pP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Natural Language Processing</a:t>
            </a:r>
            <a:b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Image Processing</a:t>
            </a:r>
            <a:b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Custom Models</a:t>
            </a:r>
          </a:p>
        </p:txBody>
      </p:sp>
      <p:grpSp>
        <p:nvGrpSpPr>
          <p:cNvPr id="132" name="Group 131">
            <a:extLst>
              <a:ext uri="{FF2B5EF4-FFF2-40B4-BE49-F238E27FC236}">
                <a16:creationId xmlns:a16="http://schemas.microsoft.com/office/drawing/2014/main" id="{30E3BC37-8EA8-4EE5-9176-C9689579808D}"/>
              </a:ext>
            </a:extLst>
          </p:cNvPr>
          <p:cNvGrpSpPr/>
          <p:nvPr/>
        </p:nvGrpSpPr>
        <p:grpSpPr>
          <a:xfrm>
            <a:off x="7015033" y="3810391"/>
            <a:ext cx="756190" cy="441992"/>
            <a:chOff x="6805144" y="3526835"/>
            <a:chExt cx="819907" cy="479234"/>
          </a:xfrm>
          <a:solidFill>
            <a:schemeClr val="bg1"/>
          </a:solidFill>
        </p:grpSpPr>
        <p:sp>
          <p:nvSpPr>
            <p:cNvPr id="133" name="Freeform: Shape 132">
              <a:extLst>
                <a:ext uri="{FF2B5EF4-FFF2-40B4-BE49-F238E27FC236}">
                  <a16:creationId xmlns:a16="http://schemas.microsoft.com/office/drawing/2014/main" id="{3C0C6906-EBAE-4945-9FD3-093C810316E5}"/>
                </a:ext>
              </a:extLst>
            </p:cNvPr>
            <p:cNvSpPr/>
            <p:nvPr/>
          </p:nvSpPr>
          <p:spPr bwMode="auto">
            <a:xfrm>
              <a:off x="6805144" y="3526835"/>
              <a:ext cx="819907" cy="479234"/>
            </a:xfrm>
            <a:custGeom>
              <a:avLst/>
              <a:gdLst>
                <a:gd name="connsiteX0" fmla="*/ 376299 w 819907"/>
                <a:gd name="connsiteY0" fmla="*/ 398713 h 479234"/>
                <a:gd name="connsiteX1" fmla="*/ 381044 w 819907"/>
                <a:gd name="connsiteY1" fmla="*/ 399671 h 479234"/>
                <a:gd name="connsiteX2" fmla="*/ 383341 w 819907"/>
                <a:gd name="connsiteY2" fmla="*/ 399207 h 479234"/>
                <a:gd name="connsiteX3" fmla="*/ 485807 w 819907"/>
                <a:gd name="connsiteY3" fmla="*/ 0 h 479234"/>
                <a:gd name="connsiteX4" fmla="*/ 556870 w 819907"/>
                <a:gd name="connsiteY4" fmla="*/ 22944 h 479234"/>
                <a:gd name="connsiteX5" fmla="*/ 573964 w 819907"/>
                <a:gd name="connsiteY5" fmla="*/ 37852 h 479234"/>
                <a:gd name="connsiteX6" fmla="*/ 581328 w 819907"/>
                <a:gd name="connsiteY6" fmla="*/ 37085 h 479234"/>
                <a:gd name="connsiteX7" fmla="*/ 708709 w 819907"/>
                <a:gd name="connsiteY7" fmla="*/ 144357 h 479234"/>
                <a:gd name="connsiteX8" fmla="*/ 709257 w 819907"/>
                <a:gd name="connsiteY8" fmla="*/ 149977 h 479234"/>
                <a:gd name="connsiteX9" fmla="*/ 723492 w 819907"/>
                <a:gd name="connsiteY9" fmla="*/ 151574 h 479234"/>
                <a:gd name="connsiteX10" fmla="*/ 819907 w 819907"/>
                <a:gd name="connsiteY10" fmla="*/ 283191 h 479234"/>
                <a:gd name="connsiteX11" fmla="*/ 699157 w 819907"/>
                <a:gd name="connsiteY11" fmla="*/ 417539 h 479234"/>
                <a:gd name="connsiteX12" fmla="*/ 674821 w 819907"/>
                <a:gd name="connsiteY12" fmla="*/ 414809 h 479234"/>
                <a:gd name="connsiteX13" fmla="*/ 658541 w 819907"/>
                <a:gd name="connsiteY13" fmla="*/ 409187 h 479234"/>
                <a:gd name="connsiteX14" fmla="*/ 657617 w 819907"/>
                <a:gd name="connsiteY14" fmla="*/ 410766 h 479234"/>
                <a:gd name="connsiteX15" fmla="*/ 552224 w 819907"/>
                <a:gd name="connsiteY15" fmla="*/ 462715 h 479234"/>
                <a:gd name="connsiteX16" fmla="*/ 538906 w 819907"/>
                <a:gd name="connsiteY16" fmla="*/ 461470 h 479234"/>
                <a:gd name="connsiteX17" fmla="*/ 538906 w 819907"/>
                <a:gd name="connsiteY17" fmla="*/ 457973 h 479234"/>
                <a:gd name="connsiteX18" fmla="*/ 533782 w 819907"/>
                <a:gd name="connsiteY18" fmla="*/ 459007 h 479234"/>
                <a:gd name="connsiteX19" fmla="*/ 518678 w 819907"/>
                <a:gd name="connsiteY19" fmla="*/ 455958 h 479234"/>
                <a:gd name="connsiteX20" fmla="*/ 518678 w 819907"/>
                <a:gd name="connsiteY20" fmla="*/ 458039 h 479234"/>
                <a:gd name="connsiteX21" fmla="*/ 505160 w 819907"/>
                <a:gd name="connsiteY21" fmla="*/ 454149 h 479234"/>
                <a:gd name="connsiteX22" fmla="*/ 496290 w 819907"/>
                <a:gd name="connsiteY22" fmla="*/ 459543 h 479234"/>
                <a:gd name="connsiteX23" fmla="*/ 408828 w 819907"/>
                <a:gd name="connsiteY23" fmla="*/ 479234 h 479234"/>
                <a:gd name="connsiteX24" fmla="*/ 321367 w 819907"/>
                <a:gd name="connsiteY24" fmla="*/ 459543 h 479234"/>
                <a:gd name="connsiteX25" fmla="*/ 307471 w 819907"/>
                <a:gd name="connsiteY25" fmla="*/ 451092 h 479234"/>
                <a:gd name="connsiteX26" fmla="*/ 302017 w 819907"/>
                <a:gd name="connsiteY26" fmla="*/ 452786 h 479234"/>
                <a:gd name="connsiteX27" fmla="*/ 273752 w 819907"/>
                <a:gd name="connsiteY27" fmla="*/ 455635 h 479234"/>
                <a:gd name="connsiteX28" fmla="*/ 258918 w 819907"/>
                <a:gd name="connsiteY28" fmla="*/ 454513 h 479234"/>
                <a:gd name="connsiteX29" fmla="*/ 258918 w 819907"/>
                <a:gd name="connsiteY29" fmla="*/ 454372 h 479234"/>
                <a:gd name="connsiteX30" fmla="*/ 255075 w 819907"/>
                <a:gd name="connsiteY30" fmla="*/ 455148 h 479234"/>
                <a:gd name="connsiteX31" fmla="*/ 230445 w 819907"/>
                <a:gd name="connsiteY31" fmla="*/ 450176 h 479234"/>
                <a:gd name="connsiteX32" fmla="*/ 222093 w 819907"/>
                <a:gd name="connsiteY32" fmla="*/ 444545 h 479234"/>
                <a:gd name="connsiteX33" fmla="*/ 195339 w 819907"/>
                <a:gd name="connsiteY33" fmla="*/ 431683 h 479234"/>
                <a:gd name="connsiteX34" fmla="*/ 181056 w 819907"/>
                <a:gd name="connsiteY34" fmla="*/ 419899 h 479234"/>
                <a:gd name="connsiteX35" fmla="*/ 168512 w 819907"/>
                <a:gd name="connsiteY35" fmla="*/ 423792 h 479234"/>
                <a:gd name="connsiteX36" fmla="*/ 140248 w 819907"/>
                <a:gd name="connsiteY36" fmla="*/ 426641 h 479234"/>
                <a:gd name="connsiteX37" fmla="*/ 0 w 819907"/>
                <a:gd name="connsiteY37" fmla="*/ 286394 h 479234"/>
                <a:gd name="connsiteX38" fmla="*/ 111983 w 819907"/>
                <a:gd name="connsiteY38" fmla="*/ 148996 h 479234"/>
                <a:gd name="connsiteX39" fmla="*/ 118745 w 819907"/>
                <a:gd name="connsiteY39" fmla="*/ 148315 h 479234"/>
                <a:gd name="connsiteX40" fmla="*/ 127283 w 819907"/>
                <a:gd name="connsiteY40" fmla="*/ 106023 h 479234"/>
                <a:gd name="connsiteX41" fmla="*/ 235608 w 819907"/>
                <a:gd name="connsiteY41" fmla="*/ 34220 h 479234"/>
                <a:gd name="connsiteX42" fmla="*/ 250073 w 819907"/>
                <a:gd name="connsiteY42" fmla="*/ 37140 h 479234"/>
                <a:gd name="connsiteX43" fmla="*/ 250378 w 819907"/>
                <a:gd name="connsiteY43" fmla="*/ 37085 h 479234"/>
                <a:gd name="connsiteX44" fmla="*/ 254168 w 819907"/>
                <a:gd name="connsiteY44" fmla="*/ 37479 h 479234"/>
                <a:gd name="connsiteX45" fmla="*/ 254168 w 819907"/>
                <a:gd name="connsiteY45" fmla="*/ 37967 h 479234"/>
                <a:gd name="connsiteX46" fmla="*/ 274396 w 819907"/>
                <a:gd name="connsiteY46" fmla="*/ 42051 h 479234"/>
                <a:gd name="connsiteX47" fmla="*/ 274396 w 819907"/>
                <a:gd name="connsiteY47" fmla="*/ 39586 h 479234"/>
                <a:gd name="connsiteX48" fmla="*/ 275015 w 819907"/>
                <a:gd name="connsiteY48" fmla="*/ 39651 h 479234"/>
                <a:gd name="connsiteX49" fmla="*/ 293030 w 819907"/>
                <a:gd name="connsiteY49" fmla="*/ 24293 h 479234"/>
                <a:gd name="connsiteX50" fmla="*/ 365726 w 819907"/>
                <a:gd name="connsiteY50" fmla="*/ 1348 h 479234"/>
                <a:gd name="connsiteX51" fmla="*/ 416337 w 819907"/>
                <a:gd name="connsiteY51" fmla="*/ 11906 h 479234"/>
                <a:gd name="connsiteX52" fmla="*/ 425260 w 819907"/>
                <a:gd name="connsiteY52" fmla="*/ 16911 h 479234"/>
                <a:gd name="connsiteX53" fmla="*/ 436334 w 819907"/>
                <a:gd name="connsiteY53" fmla="*/ 10558 h 479234"/>
                <a:gd name="connsiteX54" fmla="*/ 485807 w 819907"/>
                <a:gd name="connsiteY54" fmla="*/ 0 h 479234"/>
                <a:gd name="connsiteX0" fmla="*/ 376299 w 819907"/>
                <a:gd name="connsiteY0" fmla="*/ 398713 h 479234"/>
                <a:gd name="connsiteX1" fmla="*/ 381044 w 819907"/>
                <a:gd name="connsiteY1" fmla="*/ 399671 h 479234"/>
                <a:gd name="connsiteX2" fmla="*/ 383341 w 819907"/>
                <a:gd name="connsiteY2" fmla="*/ 399207 h 479234"/>
                <a:gd name="connsiteX3" fmla="*/ 376299 w 819907"/>
                <a:gd name="connsiteY3" fmla="*/ 398713 h 479234"/>
                <a:gd name="connsiteX4" fmla="*/ 485807 w 819907"/>
                <a:gd name="connsiteY4" fmla="*/ 0 h 479234"/>
                <a:gd name="connsiteX5" fmla="*/ 556870 w 819907"/>
                <a:gd name="connsiteY5" fmla="*/ 22944 h 479234"/>
                <a:gd name="connsiteX6" fmla="*/ 573964 w 819907"/>
                <a:gd name="connsiteY6" fmla="*/ 37852 h 479234"/>
                <a:gd name="connsiteX7" fmla="*/ 581328 w 819907"/>
                <a:gd name="connsiteY7" fmla="*/ 37085 h 479234"/>
                <a:gd name="connsiteX8" fmla="*/ 708709 w 819907"/>
                <a:gd name="connsiteY8" fmla="*/ 144357 h 479234"/>
                <a:gd name="connsiteX9" fmla="*/ 709257 w 819907"/>
                <a:gd name="connsiteY9" fmla="*/ 149977 h 479234"/>
                <a:gd name="connsiteX10" fmla="*/ 723492 w 819907"/>
                <a:gd name="connsiteY10" fmla="*/ 151574 h 479234"/>
                <a:gd name="connsiteX11" fmla="*/ 819907 w 819907"/>
                <a:gd name="connsiteY11" fmla="*/ 283191 h 479234"/>
                <a:gd name="connsiteX12" fmla="*/ 699157 w 819907"/>
                <a:gd name="connsiteY12" fmla="*/ 417539 h 479234"/>
                <a:gd name="connsiteX13" fmla="*/ 674821 w 819907"/>
                <a:gd name="connsiteY13" fmla="*/ 414809 h 479234"/>
                <a:gd name="connsiteX14" fmla="*/ 658541 w 819907"/>
                <a:gd name="connsiteY14" fmla="*/ 409187 h 479234"/>
                <a:gd name="connsiteX15" fmla="*/ 657617 w 819907"/>
                <a:gd name="connsiteY15" fmla="*/ 410766 h 479234"/>
                <a:gd name="connsiteX16" fmla="*/ 552224 w 819907"/>
                <a:gd name="connsiteY16" fmla="*/ 462715 h 479234"/>
                <a:gd name="connsiteX17" fmla="*/ 538906 w 819907"/>
                <a:gd name="connsiteY17" fmla="*/ 461470 h 479234"/>
                <a:gd name="connsiteX18" fmla="*/ 538906 w 819907"/>
                <a:gd name="connsiteY18" fmla="*/ 457973 h 479234"/>
                <a:gd name="connsiteX19" fmla="*/ 533782 w 819907"/>
                <a:gd name="connsiteY19" fmla="*/ 459007 h 479234"/>
                <a:gd name="connsiteX20" fmla="*/ 518678 w 819907"/>
                <a:gd name="connsiteY20" fmla="*/ 455958 h 479234"/>
                <a:gd name="connsiteX21" fmla="*/ 518678 w 819907"/>
                <a:gd name="connsiteY21" fmla="*/ 458039 h 479234"/>
                <a:gd name="connsiteX22" fmla="*/ 505160 w 819907"/>
                <a:gd name="connsiteY22" fmla="*/ 454149 h 479234"/>
                <a:gd name="connsiteX23" fmla="*/ 496290 w 819907"/>
                <a:gd name="connsiteY23" fmla="*/ 459543 h 479234"/>
                <a:gd name="connsiteX24" fmla="*/ 408828 w 819907"/>
                <a:gd name="connsiteY24" fmla="*/ 479234 h 479234"/>
                <a:gd name="connsiteX25" fmla="*/ 321367 w 819907"/>
                <a:gd name="connsiteY25" fmla="*/ 459543 h 479234"/>
                <a:gd name="connsiteX26" fmla="*/ 307471 w 819907"/>
                <a:gd name="connsiteY26" fmla="*/ 451092 h 479234"/>
                <a:gd name="connsiteX27" fmla="*/ 302017 w 819907"/>
                <a:gd name="connsiteY27" fmla="*/ 452786 h 479234"/>
                <a:gd name="connsiteX28" fmla="*/ 273752 w 819907"/>
                <a:gd name="connsiteY28" fmla="*/ 455635 h 479234"/>
                <a:gd name="connsiteX29" fmla="*/ 258918 w 819907"/>
                <a:gd name="connsiteY29" fmla="*/ 454513 h 479234"/>
                <a:gd name="connsiteX30" fmla="*/ 258918 w 819907"/>
                <a:gd name="connsiteY30" fmla="*/ 454372 h 479234"/>
                <a:gd name="connsiteX31" fmla="*/ 255075 w 819907"/>
                <a:gd name="connsiteY31" fmla="*/ 455148 h 479234"/>
                <a:gd name="connsiteX32" fmla="*/ 230445 w 819907"/>
                <a:gd name="connsiteY32" fmla="*/ 450176 h 479234"/>
                <a:gd name="connsiteX33" fmla="*/ 222093 w 819907"/>
                <a:gd name="connsiteY33" fmla="*/ 444545 h 479234"/>
                <a:gd name="connsiteX34" fmla="*/ 195339 w 819907"/>
                <a:gd name="connsiteY34" fmla="*/ 431683 h 479234"/>
                <a:gd name="connsiteX35" fmla="*/ 181056 w 819907"/>
                <a:gd name="connsiteY35" fmla="*/ 419899 h 479234"/>
                <a:gd name="connsiteX36" fmla="*/ 168512 w 819907"/>
                <a:gd name="connsiteY36" fmla="*/ 423792 h 479234"/>
                <a:gd name="connsiteX37" fmla="*/ 140248 w 819907"/>
                <a:gd name="connsiteY37" fmla="*/ 426641 h 479234"/>
                <a:gd name="connsiteX38" fmla="*/ 0 w 819907"/>
                <a:gd name="connsiteY38" fmla="*/ 286394 h 479234"/>
                <a:gd name="connsiteX39" fmla="*/ 111983 w 819907"/>
                <a:gd name="connsiteY39" fmla="*/ 148996 h 479234"/>
                <a:gd name="connsiteX40" fmla="*/ 118745 w 819907"/>
                <a:gd name="connsiteY40" fmla="*/ 148315 h 479234"/>
                <a:gd name="connsiteX41" fmla="*/ 235608 w 819907"/>
                <a:gd name="connsiteY41" fmla="*/ 34220 h 479234"/>
                <a:gd name="connsiteX42" fmla="*/ 250073 w 819907"/>
                <a:gd name="connsiteY42" fmla="*/ 37140 h 479234"/>
                <a:gd name="connsiteX43" fmla="*/ 250378 w 819907"/>
                <a:gd name="connsiteY43" fmla="*/ 37085 h 479234"/>
                <a:gd name="connsiteX44" fmla="*/ 254168 w 819907"/>
                <a:gd name="connsiteY44" fmla="*/ 37479 h 479234"/>
                <a:gd name="connsiteX45" fmla="*/ 254168 w 819907"/>
                <a:gd name="connsiteY45" fmla="*/ 37967 h 479234"/>
                <a:gd name="connsiteX46" fmla="*/ 274396 w 819907"/>
                <a:gd name="connsiteY46" fmla="*/ 42051 h 479234"/>
                <a:gd name="connsiteX47" fmla="*/ 274396 w 819907"/>
                <a:gd name="connsiteY47" fmla="*/ 39586 h 479234"/>
                <a:gd name="connsiteX48" fmla="*/ 275015 w 819907"/>
                <a:gd name="connsiteY48" fmla="*/ 39651 h 479234"/>
                <a:gd name="connsiteX49" fmla="*/ 293030 w 819907"/>
                <a:gd name="connsiteY49" fmla="*/ 24293 h 479234"/>
                <a:gd name="connsiteX50" fmla="*/ 365726 w 819907"/>
                <a:gd name="connsiteY50" fmla="*/ 1348 h 479234"/>
                <a:gd name="connsiteX51" fmla="*/ 416337 w 819907"/>
                <a:gd name="connsiteY51" fmla="*/ 11906 h 479234"/>
                <a:gd name="connsiteX52" fmla="*/ 425260 w 819907"/>
                <a:gd name="connsiteY52" fmla="*/ 16911 h 479234"/>
                <a:gd name="connsiteX53" fmla="*/ 436334 w 819907"/>
                <a:gd name="connsiteY53" fmla="*/ 10558 h 479234"/>
                <a:gd name="connsiteX54" fmla="*/ 485807 w 819907"/>
                <a:gd name="connsiteY54" fmla="*/ 0 h 4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19907" h="479234">
                  <a:moveTo>
                    <a:pt x="376299" y="398713"/>
                  </a:moveTo>
                  <a:lnTo>
                    <a:pt x="381044" y="399671"/>
                  </a:lnTo>
                  <a:lnTo>
                    <a:pt x="383341" y="399207"/>
                  </a:lnTo>
                  <a:lnTo>
                    <a:pt x="376299" y="398713"/>
                  </a:lnTo>
                  <a:close/>
                  <a:moveTo>
                    <a:pt x="485807" y="0"/>
                  </a:moveTo>
                  <a:cubicBezTo>
                    <a:pt x="512131" y="0"/>
                    <a:pt x="536585" y="8458"/>
                    <a:pt x="556870" y="22944"/>
                  </a:cubicBezTo>
                  <a:lnTo>
                    <a:pt x="573964" y="37852"/>
                  </a:lnTo>
                  <a:lnTo>
                    <a:pt x="581328" y="37085"/>
                  </a:lnTo>
                  <a:cubicBezTo>
                    <a:pt x="644161" y="37085"/>
                    <a:pt x="696585" y="83137"/>
                    <a:pt x="708709" y="144357"/>
                  </a:cubicBezTo>
                  <a:cubicBezTo>
                    <a:pt x="708892" y="146230"/>
                    <a:pt x="709074" y="148104"/>
                    <a:pt x="709257" y="149977"/>
                  </a:cubicBezTo>
                  <a:lnTo>
                    <a:pt x="723492" y="151574"/>
                  </a:lnTo>
                  <a:cubicBezTo>
                    <a:pt x="778516" y="164101"/>
                    <a:pt x="819907" y="218268"/>
                    <a:pt x="819907" y="283191"/>
                  </a:cubicBezTo>
                  <a:cubicBezTo>
                    <a:pt x="819907" y="357389"/>
                    <a:pt x="765845" y="417539"/>
                    <a:pt x="699157" y="417539"/>
                  </a:cubicBezTo>
                  <a:cubicBezTo>
                    <a:pt x="690821" y="417539"/>
                    <a:pt x="682682" y="416599"/>
                    <a:pt x="674821" y="414809"/>
                  </a:cubicBezTo>
                  <a:lnTo>
                    <a:pt x="658541" y="409187"/>
                  </a:lnTo>
                  <a:lnTo>
                    <a:pt x="657617" y="410766"/>
                  </a:lnTo>
                  <a:cubicBezTo>
                    <a:pt x="634776" y="442108"/>
                    <a:pt x="596096" y="462715"/>
                    <a:pt x="552224" y="462715"/>
                  </a:cubicBezTo>
                  <a:lnTo>
                    <a:pt x="538906" y="461470"/>
                  </a:lnTo>
                  <a:lnTo>
                    <a:pt x="538906" y="457973"/>
                  </a:lnTo>
                  <a:lnTo>
                    <a:pt x="533782" y="459007"/>
                  </a:lnTo>
                  <a:lnTo>
                    <a:pt x="518678" y="455958"/>
                  </a:lnTo>
                  <a:lnTo>
                    <a:pt x="518678" y="458039"/>
                  </a:lnTo>
                  <a:lnTo>
                    <a:pt x="505160" y="454149"/>
                  </a:lnTo>
                  <a:lnTo>
                    <a:pt x="496290" y="459543"/>
                  </a:lnTo>
                  <a:cubicBezTo>
                    <a:pt x="471323" y="471975"/>
                    <a:pt x="441226" y="479234"/>
                    <a:pt x="408828" y="479234"/>
                  </a:cubicBezTo>
                  <a:cubicBezTo>
                    <a:pt x="376431" y="479234"/>
                    <a:pt x="346333" y="471975"/>
                    <a:pt x="321367" y="459543"/>
                  </a:cubicBezTo>
                  <a:lnTo>
                    <a:pt x="307471" y="451092"/>
                  </a:lnTo>
                  <a:lnTo>
                    <a:pt x="302017" y="452786"/>
                  </a:lnTo>
                  <a:cubicBezTo>
                    <a:pt x="292887" y="454654"/>
                    <a:pt x="283434" y="455635"/>
                    <a:pt x="273752" y="455635"/>
                  </a:cubicBezTo>
                  <a:lnTo>
                    <a:pt x="258918" y="454513"/>
                  </a:lnTo>
                  <a:lnTo>
                    <a:pt x="258918" y="454372"/>
                  </a:lnTo>
                  <a:lnTo>
                    <a:pt x="255075" y="455148"/>
                  </a:lnTo>
                  <a:cubicBezTo>
                    <a:pt x="246339" y="455148"/>
                    <a:pt x="238015" y="453378"/>
                    <a:pt x="230445" y="450176"/>
                  </a:cubicBezTo>
                  <a:lnTo>
                    <a:pt x="222093" y="444545"/>
                  </a:lnTo>
                  <a:lnTo>
                    <a:pt x="195339" y="431683"/>
                  </a:lnTo>
                  <a:lnTo>
                    <a:pt x="181056" y="419899"/>
                  </a:lnTo>
                  <a:lnTo>
                    <a:pt x="168512" y="423792"/>
                  </a:lnTo>
                  <a:cubicBezTo>
                    <a:pt x="159382" y="425660"/>
                    <a:pt x="149930" y="426641"/>
                    <a:pt x="140248" y="426641"/>
                  </a:cubicBezTo>
                  <a:cubicBezTo>
                    <a:pt x="62791" y="426641"/>
                    <a:pt x="0" y="363851"/>
                    <a:pt x="0" y="286394"/>
                  </a:cubicBezTo>
                  <a:cubicBezTo>
                    <a:pt x="0" y="218620"/>
                    <a:pt x="48074" y="162074"/>
                    <a:pt x="111983" y="148996"/>
                  </a:cubicBezTo>
                  <a:lnTo>
                    <a:pt x="118745" y="148315"/>
                  </a:lnTo>
                  <a:lnTo>
                    <a:pt x="235608" y="34220"/>
                  </a:lnTo>
                  <a:lnTo>
                    <a:pt x="250073" y="37140"/>
                  </a:lnTo>
                  <a:lnTo>
                    <a:pt x="250378" y="37085"/>
                  </a:lnTo>
                  <a:lnTo>
                    <a:pt x="254168" y="37479"/>
                  </a:lnTo>
                  <a:lnTo>
                    <a:pt x="254168" y="37967"/>
                  </a:lnTo>
                  <a:lnTo>
                    <a:pt x="274396" y="42051"/>
                  </a:lnTo>
                  <a:lnTo>
                    <a:pt x="274396" y="39586"/>
                  </a:lnTo>
                  <a:lnTo>
                    <a:pt x="275015" y="39651"/>
                  </a:lnTo>
                  <a:lnTo>
                    <a:pt x="293030" y="24293"/>
                  </a:lnTo>
                  <a:cubicBezTo>
                    <a:pt x="313781" y="9807"/>
                    <a:pt x="338798" y="1348"/>
                    <a:pt x="365726" y="1348"/>
                  </a:cubicBezTo>
                  <a:cubicBezTo>
                    <a:pt x="383678" y="1348"/>
                    <a:pt x="400781" y="5108"/>
                    <a:pt x="416337" y="11906"/>
                  </a:cubicBezTo>
                  <a:lnTo>
                    <a:pt x="425260" y="16911"/>
                  </a:lnTo>
                  <a:lnTo>
                    <a:pt x="436334" y="10558"/>
                  </a:lnTo>
                  <a:cubicBezTo>
                    <a:pt x="451540" y="3759"/>
                    <a:pt x="468258" y="0"/>
                    <a:pt x="48580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945FF535-5675-411B-AD98-B97B6ECE5B81}"/>
                </a:ext>
              </a:extLst>
            </p:cNvPr>
            <p:cNvSpPr/>
            <p:nvPr/>
          </p:nvSpPr>
          <p:spPr>
            <a:xfrm>
              <a:off x="6805144" y="3526835"/>
              <a:ext cx="819907" cy="479234"/>
            </a:xfrm>
            <a:custGeom>
              <a:avLst/>
              <a:gdLst>
                <a:gd name="connsiteX0" fmla="*/ 1656248 w 3563815"/>
                <a:gd name="connsiteY0" fmla="*/ 1373574 h 2083042"/>
                <a:gd name="connsiteX1" fmla="*/ 1790921 w 3563815"/>
                <a:gd name="connsiteY1" fmla="*/ 1508247 h 2083042"/>
                <a:gd name="connsiteX2" fmla="*/ 1656248 w 3563815"/>
                <a:gd name="connsiteY2" fmla="*/ 1642920 h 2083042"/>
                <a:gd name="connsiteX3" fmla="*/ 1521575 w 3563815"/>
                <a:gd name="connsiteY3" fmla="*/ 1508247 h 2083042"/>
                <a:gd name="connsiteX4" fmla="*/ 1656248 w 3563815"/>
                <a:gd name="connsiteY4" fmla="*/ 1373574 h 2083042"/>
                <a:gd name="connsiteX5" fmla="*/ 595310 w 3563815"/>
                <a:gd name="connsiteY5" fmla="*/ 1168419 h 2083042"/>
                <a:gd name="connsiteX6" fmla="*/ 729983 w 3563815"/>
                <a:gd name="connsiteY6" fmla="*/ 1303092 h 2083042"/>
                <a:gd name="connsiteX7" fmla="*/ 595310 w 3563815"/>
                <a:gd name="connsiteY7" fmla="*/ 1437765 h 2083042"/>
                <a:gd name="connsiteX8" fmla="*/ 460637 w 3563815"/>
                <a:gd name="connsiteY8" fmla="*/ 1303092 h 2083042"/>
                <a:gd name="connsiteX9" fmla="*/ 595310 w 3563815"/>
                <a:gd name="connsiteY9" fmla="*/ 1168419 h 2083042"/>
                <a:gd name="connsiteX10" fmla="*/ 2834783 w 3563815"/>
                <a:gd name="connsiteY10" fmla="*/ 951176 h 2083042"/>
                <a:gd name="connsiteX11" fmla="*/ 2969456 w 3563815"/>
                <a:gd name="connsiteY11" fmla="*/ 1085849 h 2083042"/>
                <a:gd name="connsiteX12" fmla="*/ 2834783 w 3563815"/>
                <a:gd name="connsiteY12" fmla="*/ 1220522 h 2083042"/>
                <a:gd name="connsiteX13" fmla="*/ 2700110 w 3563815"/>
                <a:gd name="connsiteY13" fmla="*/ 1085849 h 2083042"/>
                <a:gd name="connsiteX14" fmla="*/ 2834783 w 3563815"/>
                <a:gd name="connsiteY14" fmla="*/ 951176 h 2083042"/>
                <a:gd name="connsiteX15" fmla="*/ 1781907 w 3563815"/>
                <a:gd name="connsiteY15" fmla="*/ 444520 h 2083042"/>
                <a:gd name="connsiteX16" fmla="*/ 1916580 w 3563815"/>
                <a:gd name="connsiteY16" fmla="*/ 579193 h 2083042"/>
                <a:gd name="connsiteX17" fmla="*/ 1781907 w 3563815"/>
                <a:gd name="connsiteY17" fmla="*/ 713866 h 2083042"/>
                <a:gd name="connsiteX18" fmla="*/ 1647234 w 3563815"/>
                <a:gd name="connsiteY18" fmla="*/ 579193 h 2083042"/>
                <a:gd name="connsiteX19" fmla="*/ 1781907 w 3563815"/>
                <a:gd name="connsiteY19" fmla="*/ 444520 h 2083042"/>
                <a:gd name="connsiteX20" fmla="*/ 2111613 w 3563815"/>
                <a:gd name="connsiteY20" fmla="*/ 0 h 2083042"/>
                <a:gd name="connsiteX21" fmla="*/ 2420496 w 3563815"/>
                <a:gd name="connsiteY21" fmla="*/ 99731 h 2083042"/>
                <a:gd name="connsiteX22" fmla="*/ 2494794 w 3563815"/>
                <a:gd name="connsiteY22" fmla="*/ 164528 h 2083042"/>
                <a:gd name="connsiteX23" fmla="*/ 2526805 w 3563815"/>
                <a:gd name="connsiteY23" fmla="*/ 161193 h 2083042"/>
                <a:gd name="connsiteX24" fmla="*/ 3080478 w 3563815"/>
                <a:gd name="connsiteY24" fmla="*/ 627461 h 2083042"/>
                <a:gd name="connsiteX25" fmla="*/ 3082862 w 3563815"/>
                <a:gd name="connsiteY25" fmla="*/ 651890 h 2083042"/>
                <a:gd name="connsiteX26" fmla="*/ 3144737 w 3563815"/>
                <a:gd name="connsiteY26" fmla="*/ 658830 h 2083042"/>
                <a:gd name="connsiteX27" fmla="*/ 3563815 w 3563815"/>
                <a:gd name="connsiteY27" fmla="*/ 1230921 h 2083042"/>
                <a:gd name="connsiteX28" fmla="*/ 3038960 w 3563815"/>
                <a:gd name="connsiteY28" fmla="*/ 1814876 h 2083042"/>
                <a:gd name="connsiteX29" fmla="*/ 2933184 w 3563815"/>
                <a:gd name="connsiteY29" fmla="*/ 1803012 h 2083042"/>
                <a:gd name="connsiteX30" fmla="*/ 2862420 w 3563815"/>
                <a:gd name="connsiteY30" fmla="*/ 1778573 h 2083042"/>
                <a:gd name="connsiteX31" fmla="*/ 2858401 w 3563815"/>
                <a:gd name="connsiteY31" fmla="*/ 1785437 h 2083042"/>
                <a:gd name="connsiteX32" fmla="*/ 2400300 w 3563815"/>
                <a:gd name="connsiteY32" fmla="*/ 2011240 h 2083042"/>
                <a:gd name="connsiteX33" fmla="*/ 2342413 w 3563815"/>
                <a:gd name="connsiteY33" fmla="*/ 2005830 h 2083042"/>
                <a:gd name="connsiteX34" fmla="*/ 2342413 w 3563815"/>
                <a:gd name="connsiteY34" fmla="*/ 1487365 h 2083042"/>
                <a:gd name="connsiteX35" fmla="*/ 2760356 w 3563815"/>
                <a:gd name="connsiteY35" fmla="*/ 1487365 h 2083042"/>
                <a:gd name="connsiteX36" fmla="*/ 2887388 w 3563815"/>
                <a:gd name="connsiteY36" fmla="*/ 1360333 h 2083042"/>
                <a:gd name="connsiteX37" fmla="*/ 2887388 w 3563815"/>
                <a:gd name="connsiteY37" fmla="*/ 1308158 h 2083042"/>
                <a:gd name="connsiteX38" fmla="*/ 2923907 w 3563815"/>
                <a:gd name="connsiteY38" fmla="*/ 1296822 h 2083042"/>
                <a:gd name="connsiteX39" fmla="*/ 3063749 w 3563815"/>
                <a:gd name="connsiteY39" fmla="*/ 1085849 h 2083042"/>
                <a:gd name="connsiteX40" fmla="*/ 2834783 w 3563815"/>
                <a:gd name="connsiteY40" fmla="*/ 856883 h 2083042"/>
                <a:gd name="connsiteX41" fmla="*/ 2605817 w 3563815"/>
                <a:gd name="connsiteY41" fmla="*/ 1085849 h 2083042"/>
                <a:gd name="connsiteX42" fmla="*/ 2788639 w 3563815"/>
                <a:gd name="connsiteY42" fmla="*/ 1310163 h 2083042"/>
                <a:gd name="connsiteX43" fmla="*/ 2789938 w 3563815"/>
                <a:gd name="connsiteY43" fmla="*/ 1310294 h 2083042"/>
                <a:gd name="connsiteX44" fmla="*/ 2789938 w 3563815"/>
                <a:gd name="connsiteY44" fmla="*/ 1349619 h 2083042"/>
                <a:gd name="connsiteX45" fmla="*/ 2740115 w 3563815"/>
                <a:gd name="connsiteY45" fmla="*/ 1399442 h 2083042"/>
                <a:gd name="connsiteX46" fmla="*/ 2342413 w 3563815"/>
                <a:gd name="connsiteY46" fmla="*/ 1399442 h 2083042"/>
                <a:gd name="connsiteX47" fmla="*/ 2342413 w 3563815"/>
                <a:gd name="connsiteY47" fmla="*/ 652370 h 2083042"/>
                <a:gd name="connsiteX48" fmla="*/ 2215381 w 3563815"/>
                <a:gd name="connsiteY48" fmla="*/ 525338 h 2083042"/>
                <a:gd name="connsiteX49" fmla="*/ 2000000 w 3563815"/>
                <a:gd name="connsiteY49" fmla="*/ 525338 h 2083042"/>
                <a:gd name="connsiteX50" fmla="*/ 1992880 w 3563815"/>
                <a:gd name="connsiteY50" fmla="*/ 490069 h 2083042"/>
                <a:gd name="connsiteX51" fmla="*/ 1781907 w 3563815"/>
                <a:gd name="connsiteY51" fmla="*/ 350227 h 2083042"/>
                <a:gd name="connsiteX52" fmla="*/ 1552941 w 3563815"/>
                <a:gd name="connsiteY52" fmla="*/ 579193 h 2083042"/>
                <a:gd name="connsiteX53" fmla="*/ 1781907 w 3563815"/>
                <a:gd name="connsiteY53" fmla="*/ 808159 h 2083042"/>
                <a:gd name="connsiteX54" fmla="*/ 1992880 w 3563815"/>
                <a:gd name="connsiteY54" fmla="*/ 668317 h 2083042"/>
                <a:gd name="connsiteX55" fmla="*/ 2002072 w 3563815"/>
                <a:gd name="connsiteY55" fmla="*/ 622788 h 2083042"/>
                <a:gd name="connsiteX56" fmla="*/ 2204667 w 3563815"/>
                <a:gd name="connsiteY56" fmla="*/ 622788 h 2083042"/>
                <a:gd name="connsiteX57" fmla="*/ 2254490 w 3563815"/>
                <a:gd name="connsiteY57" fmla="*/ 672611 h 2083042"/>
                <a:gd name="connsiteX58" fmla="*/ 2254490 w 3563815"/>
                <a:gd name="connsiteY58" fmla="*/ 1990915 h 2083042"/>
                <a:gd name="connsiteX59" fmla="*/ 2195730 w 3563815"/>
                <a:gd name="connsiteY59" fmla="*/ 1974005 h 2083042"/>
                <a:gd name="connsiteX60" fmla="*/ 2157176 w 3563815"/>
                <a:gd name="connsiteY60" fmla="*/ 1997451 h 2083042"/>
                <a:gd name="connsiteX61" fmla="*/ 1777016 w 3563815"/>
                <a:gd name="connsiteY61" fmla="*/ 2083042 h 2083042"/>
                <a:gd name="connsiteX62" fmla="*/ 1396856 w 3563815"/>
                <a:gd name="connsiteY62" fmla="*/ 1997451 h 2083042"/>
                <a:gd name="connsiteX63" fmla="*/ 1336457 w 3563815"/>
                <a:gd name="connsiteY63" fmla="*/ 1960720 h 2083042"/>
                <a:gd name="connsiteX64" fmla="*/ 1312748 w 3563815"/>
                <a:gd name="connsiteY64" fmla="*/ 1968080 h 2083042"/>
                <a:gd name="connsiteX65" fmla="*/ 1189892 w 3563815"/>
                <a:gd name="connsiteY65" fmla="*/ 1980465 h 2083042"/>
                <a:gd name="connsiteX66" fmla="*/ 1125414 w 3563815"/>
                <a:gd name="connsiteY66" fmla="*/ 1975587 h 2083042"/>
                <a:gd name="connsiteX67" fmla="*/ 1125414 w 3563815"/>
                <a:gd name="connsiteY67" fmla="*/ 1388724 h 2083042"/>
                <a:gd name="connsiteX68" fmla="*/ 998382 w 3563815"/>
                <a:gd name="connsiteY68" fmla="*/ 1261692 h 2083042"/>
                <a:gd name="connsiteX69" fmla="*/ 820103 w 3563815"/>
                <a:gd name="connsiteY69" fmla="*/ 1261692 h 2083042"/>
                <a:gd name="connsiteX70" fmla="*/ 819624 w 3563815"/>
                <a:gd name="connsiteY70" fmla="*/ 1256947 h 2083042"/>
                <a:gd name="connsiteX71" fmla="*/ 595310 w 3563815"/>
                <a:gd name="connsiteY71" fmla="*/ 1074126 h 2083042"/>
                <a:gd name="connsiteX72" fmla="*/ 366344 w 3563815"/>
                <a:gd name="connsiteY72" fmla="*/ 1303092 h 2083042"/>
                <a:gd name="connsiteX73" fmla="*/ 595310 w 3563815"/>
                <a:gd name="connsiteY73" fmla="*/ 1532058 h 2083042"/>
                <a:gd name="connsiteX74" fmla="*/ 806283 w 3563815"/>
                <a:gd name="connsiteY74" fmla="*/ 1392216 h 2083042"/>
                <a:gd name="connsiteX75" fmla="*/ 816549 w 3563815"/>
                <a:gd name="connsiteY75" fmla="*/ 1359142 h 2083042"/>
                <a:gd name="connsiteX76" fmla="*/ 987668 w 3563815"/>
                <a:gd name="connsiteY76" fmla="*/ 1359142 h 2083042"/>
                <a:gd name="connsiteX77" fmla="*/ 1037491 w 3563815"/>
                <a:gd name="connsiteY77" fmla="*/ 1408965 h 2083042"/>
                <a:gd name="connsiteX78" fmla="*/ 1037491 w 3563815"/>
                <a:gd name="connsiteY78" fmla="*/ 1959714 h 2083042"/>
                <a:gd name="connsiteX79" fmla="*/ 1008616 w 3563815"/>
                <a:gd name="connsiteY79" fmla="*/ 1953059 h 2083042"/>
                <a:gd name="connsiteX80" fmla="*/ 849059 w 3563815"/>
                <a:gd name="connsiteY80" fmla="*/ 1876355 h 2083042"/>
                <a:gd name="connsiteX81" fmla="*/ 786977 w 3563815"/>
                <a:gd name="connsiteY81" fmla="*/ 1825133 h 2083042"/>
                <a:gd name="connsiteX82" fmla="*/ 732456 w 3563815"/>
                <a:gd name="connsiteY82" fmla="*/ 1842057 h 2083042"/>
                <a:gd name="connsiteX83" fmla="*/ 609600 w 3563815"/>
                <a:gd name="connsiteY83" fmla="*/ 1854442 h 2083042"/>
                <a:gd name="connsiteX84" fmla="*/ 0 w 3563815"/>
                <a:gd name="connsiteY84" fmla="*/ 1244842 h 2083042"/>
                <a:gd name="connsiteX85" fmla="*/ 486744 w 3563815"/>
                <a:gd name="connsiteY85" fmla="*/ 647627 h 2083042"/>
                <a:gd name="connsiteX86" fmla="*/ 533111 w 3563815"/>
                <a:gd name="connsiteY86" fmla="*/ 642953 h 2083042"/>
                <a:gd name="connsiteX87" fmla="*/ 534623 w 3563815"/>
                <a:gd name="connsiteY87" fmla="*/ 627461 h 2083042"/>
                <a:gd name="connsiteX88" fmla="*/ 1088296 w 3563815"/>
                <a:gd name="connsiteY88" fmla="*/ 161193 h 2083042"/>
                <a:gd name="connsiteX89" fmla="*/ 1104766 w 3563815"/>
                <a:gd name="connsiteY89" fmla="*/ 162909 h 2083042"/>
                <a:gd name="connsiteX90" fmla="*/ 1104766 w 3563815"/>
                <a:gd name="connsiteY90" fmla="*/ 916689 h 2083042"/>
                <a:gd name="connsiteX91" fmla="*/ 1231798 w 3563815"/>
                <a:gd name="connsiteY91" fmla="*/ 1043721 h 2083042"/>
                <a:gd name="connsiteX92" fmla="*/ 1560712 w 3563815"/>
                <a:gd name="connsiteY92" fmla="*/ 1037332 h 2083042"/>
                <a:gd name="connsiteX93" fmla="*/ 1610535 w 3563815"/>
                <a:gd name="connsiteY93" fmla="*/ 1087155 h 2083042"/>
                <a:gd name="connsiteX94" fmla="*/ 1610535 w 3563815"/>
                <a:gd name="connsiteY94" fmla="*/ 1283889 h 2083042"/>
                <a:gd name="connsiteX95" fmla="*/ 1610104 w 3563815"/>
                <a:gd name="connsiteY95" fmla="*/ 1283933 h 2083042"/>
                <a:gd name="connsiteX96" fmla="*/ 1427282 w 3563815"/>
                <a:gd name="connsiteY96" fmla="*/ 1508247 h 2083042"/>
                <a:gd name="connsiteX97" fmla="*/ 1656248 w 3563815"/>
                <a:gd name="connsiteY97" fmla="*/ 1737213 h 2083042"/>
                <a:gd name="connsiteX98" fmla="*/ 1885214 w 3563815"/>
                <a:gd name="connsiteY98" fmla="*/ 1508247 h 2083042"/>
                <a:gd name="connsiteX99" fmla="*/ 1702393 w 3563815"/>
                <a:gd name="connsiteY99" fmla="*/ 1283933 h 2083042"/>
                <a:gd name="connsiteX100" fmla="*/ 1698458 w 3563815"/>
                <a:gd name="connsiteY100" fmla="*/ 1283536 h 2083042"/>
                <a:gd name="connsiteX101" fmla="*/ 1698458 w 3563815"/>
                <a:gd name="connsiteY101" fmla="*/ 1075707 h 2083042"/>
                <a:gd name="connsiteX102" fmla="*/ 1571426 w 3563815"/>
                <a:gd name="connsiteY102" fmla="*/ 948675 h 2083042"/>
                <a:gd name="connsiteX103" fmla="*/ 1242512 w 3563815"/>
                <a:gd name="connsiteY103" fmla="*/ 955064 h 2083042"/>
                <a:gd name="connsiteX104" fmla="*/ 1192689 w 3563815"/>
                <a:gd name="connsiteY104" fmla="*/ 905241 h 2083042"/>
                <a:gd name="connsiteX105" fmla="*/ 1192689 w 3563815"/>
                <a:gd name="connsiteY105" fmla="*/ 172067 h 2083042"/>
                <a:gd name="connsiteX106" fmla="*/ 1195380 w 3563815"/>
                <a:gd name="connsiteY106" fmla="*/ 172347 h 2083042"/>
                <a:gd name="connsiteX107" fmla="*/ 1273684 w 3563815"/>
                <a:gd name="connsiteY107" fmla="*/ 105592 h 2083042"/>
                <a:gd name="connsiteX108" fmla="*/ 1589667 w 3563815"/>
                <a:gd name="connsiteY108" fmla="*/ 5861 h 2083042"/>
                <a:gd name="connsiteX109" fmla="*/ 1809651 w 3563815"/>
                <a:gd name="connsiteY109" fmla="*/ 51751 h 2083042"/>
                <a:gd name="connsiteX110" fmla="*/ 1848440 w 3563815"/>
                <a:gd name="connsiteY110" fmla="*/ 73506 h 2083042"/>
                <a:gd name="connsiteX111" fmla="*/ 1896573 w 3563815"/>
                <a:gd name="connsiteY111" fmla="*/ 45890 h 2083042"/>
                <a:gd name="connsiteX112" fmla="*/ 2111613 w 3563815"/>
                <a:gd name="connsiteY112" fmla="*/ 0 h 208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563815" h="2083042">
                  <a:moveTo>
                    <a:pt x="1656248" y="1373574"/>
                  </a:moveTo>
                  <a:cubicBezTo>
                    <a:pt x="1730626" y="1373574"/>
                    <a:pt x="1790921" y="1433869"/>
                    <a:pt x="1790921" y="1508247"/>
                  </a:cubicBezTo>
                  <a:cubicBezTo>
                    <a:pt x="1790921" y="1582625"/>
                    <a:pt x="1730626" y="1642920"/>
                    <a:pt x="1656248" y="1642920"/>
                  </a:cubicBezTo>
                  <a:cubicBezTo>
                    <a:pt x="1581870" y="1642920"/>
                    <a:pt x="1521575" y="1582625"/>
                    <a:pt x="1521575" y="1508247"/>
                  </a:cubicBezTo>
                  <a:cubicBezTo>
                    <a:pt x="1521575" y="1433869"/>
                    <a:pt x="1581870" y="1373574"/>
                    <a:pt x="1656248" y="1373574"/>
                  </a:cubicBezTo>
                  <a:close/>
                  <a:moveTo>
                    <a:pt x="595310" y="1168419"/>
                  </a:moveTo>
                  <a:cubicBezTo>
                    <a:pt x="669688" y="1168419"/>
                    <a:pt x="729983" y="1228714"/>
                    <a:pt x="729983" y="1303092"/>
                  </a:cubicBezTo>
                  <a:cubicBezTo>
                    <a:pt x="729983" y="1377470"/>
                    <a:pt x="669688" y="1437765"/>
                    <a:pt x="595310" y="1437765"/>
                  </a:cubicBezTo>
                  <a:cubicBezTo>
                    <a:pt x="520932" y="1437765"/>
                    <a:pt x="460637" y="1377470"/>
                    <a:pt x="460637" y="1303092"/>
                  </a:cubicBezTo>
                  <a:cubicBezTo>
                    <a:pt x="460637" y="1228714"/>
                    <a:pt x="520932" y="1168419"/>
                    <a:pt x="595310" y="1168419"/>
                  </a:cubicBezTo>
                  <a:close/>
                  <a:moveTo>
                    <a:pt x="2834783" y="951176"/>
                  </a:moveTo>
                  <a:cubicBezTo>
                    <a:pt x="2909161" y="951176"/>
                    <a:pt x="2969456" y="1011471"/>
                    <a:pt x="2969456" y="1085849"/>
                  </a:cubicBezTo>
                  <a:cubicBezTo>
                    <a:pt x="2969456" y="1160227"/>
                    <a:pt x="2909161" y="1220522"/>
                    <a:pt x="2834783" y="1220522"/>
                  </a:cubicBezTo>
                  <a:cubicBezTo>
                    <a:pt x="2760405" y="1220522"/>
                    <a:pt x="2700110" y="1160227"/>
                    <a:pt x="2700110" y="1085849"/>
                  </a:cubicBezTo>
                  <a:cubicBezTo>
                    <a:pt x="2700110" y="1011471"/>
                    <a:pt x="2760405" y="951176"/>
                    <a:pt x="2834783" y="951176"/>
                  </a:cubicBezTo>
                  <a:close/>
                  <a:moveTo>
                    <a:pt x="1781907" y="444520"/>
                  </a:moveTo>
                  <a:cubicBezTo>
                    <a:pt x="1856285" y="444520"/>
                    <a:pt x="1916580" y="504815"/>
                    <a:pt x="1916580" y="579193"/>
                  </a:cubicBezTo>
                  <a:cubicBezTo>
                    <a:pt x="1916580" y="653571"/>
                    <a:pt x="1856285" y="713866"/>
                    <a:pt x="1781907" y="713866"/>
                  </a:cubicBezTo>
                  <a:cubicBezTo>
                    <a:pt x="1707529" y="713866"/>
                    <a:pt x="1647234" y="653571"/>
                    <a:pt x="1647234" y="579193"/>
                  </a:cubicBezTo>
                  <a:cubicBezTo>
                    <a:pt x="1647234" y="504815"/>
                    <a:pt x="1707529" y="444520"/>
                    <a:pt x="1781907" y="444520"/>
                  </a:cubicBezTo>
                  <a:close/>
                  <a:moveTo>
                    <a:pt x="2111613" y="0"/>
                  </a:moveTo>
                  <a:cubicBezTo>
                    <a:pt x="2226030" y="0"/>
                    <a:pt x="2332323" y="36766"/>
                    <a:pt x="2420496" y="99731"/>
                  </a:cubicBezTo>
                  <a:lnTo>
                    <a:pt x="2494794" y="164528"/>
                  </a:lnTo>
                  <a:lnTo>
                    <a:pt x="2526805" y="161193"/>
                  </a:lnTo>
                  <a:cubicBezTo>
                    <a:pt x="2799915" y="161193"/>
                    <a:pt x="3027780" y="361363"/>
                    <a:pt x="3080478" y="627461"/>
                  </a:cubicBezTo>
                  <a:lnTo>
                    <a:pt x="3082862" y="651890"/>
                  </a:lnTo>
                  <a:lnTo>
                    <a:pt x="3144737" y="658830"/>
                  </a:lnTo>
                  <a:cubicBezTo>
                    <a:pt x="3383904" y="713282"/>
                    <a:pt x="3563815" y="948726"/>
                    <a:pt x="3563815" y="1230921"/>
                  </a:cubicBezTo>
                  <a:cubicBezTo>
                    <a:pt x="3563815" y="1553430"/>
                    <a:pt x="3328829" y="1814876"/>
                    <a:pt x="3038960" y="1814876"/>
                  </a:cubicBezTo>
                  <a:cubicBezTo>
                    <a:pt x="3002727" y="1814876"/>
                    <a:pt x="2967351" y="1810791"/>
                    <a:pt x="2933184" y="1803012"/>
                  </a:cubicBezTo>
                  <a:lnTo>
                    <a:pt x="2862420" y="1778573"/>
                  </a:lnTo>
                  <a:lnTo>
                    <a:pt x="2858401" y="1785437"/>
                  </a:lnTo>
                  <a:cubicBezTo>
                    <a:pt x="2759122" y="1921671"/>
                    <a:pt x="2590994" y="2011240"/>
                    <a:pt x="2400300" y="2011240"/>
                  </a:cubicBezTo>
                  <a:lnTo>
                    <a:pt x="2342413" y="2005830"/>
                  </a:lnTo>
                  <a:lnTo>
                    <a:pt x="2342413" y="1487365"/>
                  </a:lnTo>
                  <a:lnTo>
                    <a:pt x="2760356" y="1487365"/>
                  </a:lnTo>
                  <a:cubicBezTo>
                    <a:pt x="2830514" y="1487365"/>
                    <a:pt x="2887388" y="1430491"/>
                    <a:pt x="2887388" y="1360333"/>
                  </a:cubicBezTo>
                  <a:lnTo>
                    <a:pt x="2887388" y="1308158"/>
                  </a:lnTo>
                  <a:lnTo>
                    <a:pt x="2923907" y="1296822"/>
                  </a:lnTo>
                  <a:cubicBezTo>
                    <a:pt x="3006086" y="1262063"/>
                    <a:pt x="3063749" y="1180689"/>
                    <a:pt x="3063749" y="1085849"/>
                  </a:cubicBezTo>
                  <a:cubicBezTo>
                    <a:pt x="3063749" y="959395"/>
                    <a:pt x="2961237" y="856883"/>
                    <a:pt x="2834783" y="856883"/>
                  </a:cubicBezTo>
                  <a:cubicBezTo>
                    <a:pt x="2708329" y="856883"/>
                    <a:pt x="2605817" y="959395"/>
                    <a:pt x="2605817" y="1085849"/>
                  </a:cubicBezTo>
                  <a:cubicBezTo>
                    <a:pt x="2605817" y="1196496"/>
                    <a:pt x="2684303" y="1288813"/>
                    <a:pt x="2788639" y="1310163"/>
                  </a:cubicBezTo>
                  <a:lnTo>
                    <a:pt x="2789938" y="1310294"/>
                  </a:lnTo>
                  <a:lnTo>
                    <a:pt x="2789938" y="1349619"/>
                  </a:lnTo>
                  <a:cubicBezTo>
                    <a:pt x="2789938" y="1377135"/>
                    <a:pt x="2767631" y="1399442"/>
                    <a:pt x="2740115" y="1399442"/>
                  </a:cubicBezTo>
                  <a:lnTo>
                    <a:pt x="2342413" y="1399442"/>
                  </a:lnTo>
                  <a:lnTo>
                    <a:pt x="2342413" y="652370"/>
                  </a:lnTo>
                  <a:cubicBezTo>
                    <a:pt x="2342413" y="582212"/>
                    <a:pt x="2285539" y="525338"/>
                    <a:pt x="2215381" y="525338"/>
                  </a:cubicBezTo>
                  <a:lnTo>
                    <a:pt x="2000000" y="525338"/>
                  </a:lnTo>
                  <a:lnTo>
                    <a:pt x="1992880" y="490069"/>
                  </a:lnTo>
                  <a:cubicBezTo>
                    <a:pt x="1958121" y="407890"/>
                    <a:pt x="1876748" y="350227"/>
                    <a:pt x="1781907" y="350227"/>
                  </a:cubicBezTo>
                  <a:cubicBezTo>
                    <a:pt x="1655453" y="350227"/>
                    <a:pt x="1552941" y="452739"/>
                    <a:pt x="1552941" y="579193"/>
                  </a:cubicBezTo>
                  <a:cubicBezTo>
                    <a:pt x="1552941" y="705647"/>
                    <a:pt x="1655453" y="808159"/>
                    <a:pt x="1781907" y="808159"/>
                  </a:cubicBezTo>
                  <a:cubicBezTo>
                    <a:pt x="1876748" y="808159"/>
                    <a:pt x="1958121" y="750496"/>
                    <a:pt x="1992880" y="668317"/>
                  </a:cubicBezTo>
                  <a:lnTo>
                    <a:pt x="2002072" y="622788"/>
                  </a:lnTo>
                  <a:lnTo>
                    <a:pt x="2204667" y="622788"/>
                  </a:lnTo>
                  <a:cubicBezTo>
                    <a:pt x="2232183" y="622788"/>
                    <a:pt x="2254490" y="645095"/>
                    <a:pt x="2254490" y="672611"/>
                  </a:cubicBezTo>
                  <a:lnTo>
                    <a:pt x="2254490" y="1990915"/>
                  </a:lnTo>
                  <a:lnTo>
                    <a:pt x="2195730" y="1974005"/>
                  </a:lnTo>
                  <a:lnTo>
                    <a:pt x="2157176" y="1997451"/>
                  </a:lnTo>
                  <a:cubicBezTo>
                    <a:pt x="2048657" y="2051489"/>
                    <a:pt x="1917836" y="2083042"/>
                    <a:pt x="1777016" y="2083042"/>
                  </a:cubicBezTo>
                  <a:cubicBezTo>
                    <a:pt x="1636197" y="2083042"/>
                    <a:pt x="1505375" y="2051489"/>
                    <a:pt x="1396856" y="1997451"/>
                  </a:cubicBezTo>
                  <a:lnTo>
                    <a:pt x="1336457" y="1960720"/>
                  </a:lnTo>
                  <a:lnTo>
                    <a:pt x="1312748" y="1968080"/>
                  </a:lnTo>
                  <a:cubicBezTo>
                    <a:pt x="1273064" y="1976201"/>
                    <a:pt x="1231976" y="1980465"/>
                    <a:pt x="1189892" y="1980465"/>
                  </a:cubicBezTo>
                  <a:lnTo>
                    <a:pt x="1125414" y="1975587"/>
                  </a:lnTo>
                  <a:lnTo>
                    <a:pt x="1125414" y="1388724"/>
                  </a:lnTo>
                  <a:cubicBezTo>
                    <a:pt x="1125414" y="1318566"/>
                    <a:pt x="1068540" y="1261692"/>
                    <a:pt x="998382" y="1261692"/>
                  </a:cubicBezTo>
                  <a:lnTo>
                    <a:pt x="820103" y="1261692"/>
                  </a:lnTo>
                  <a:lnTo>
                    <a:pt x="819624" y="1256947"/>
                  </a:lnTo>
                  <a:cubicBezTo>
                    <a:pt x="798274" y="1152612"/>
                    <a:pt x="705957" y="1074126"/>
                    <a:pt x="595310" y="1074126"/>
                  </a:cubicBezTo>
                  <a:cubicBezTo>
                    <a:pt x="468856" y="1074126"/>
                    <a:pt x="366344" y="1176638"/>
                    <a:pt x="366344" y="1303092"/>
                  </a:cubicBezTo>
                  <a:cubicBezTo>
                    <a:pt x="366344" y="1429546"/>
                    <a:pt x="468856" y="1532058"/>
                    <a:pt x="595310" y="1532058"/>
                  </a:cubicBezTo>
                  <a:cubicBezTo>
                    <a:pt x="690150" y="1532058"/>
                    <a:pt x="771524" y="1474395"/>
                    <a:pt x="806283" y="1392216"/>
                  </a:cubicBezTo>
                  <a:lnTo>
                    <a:pt x="816549" y="1359142"/>
                  </a:lnTo>
                  <a:lnTo>
                    <a:pt x="987668" y="1359142"/>
                  </a:lnTo>
                  <a:cubicBezTo>
                    <a:pt x="1015184" y="1359142"/>
                    <a:pt x="1037491" y="1381449"/>
                    <a:pt x="1037491" y="1408965"/>
                  </a:cubicBezTo>
                  <a:lnTo>
                    <a:pt x="1037491" y="1959714"/>
                  </a:lnTo>
                  <a:lnTo>
                    <a:pt x="1008616" y="1953059"/>
                  </a:lnTo>
                  <a:cubicBezTo>
                    <a:pt x="951350" y="1935248"/>
                    <a:pt x="897705" y="1909220"/>
                    <a:pt x="849059" y="1876355"/>
                  </a:cubicBezTo>
                  <a:lnTo>
                    <a:pt x="786977" y="1825133"/>
                  </a:lnTo>
                  <a:lnTo>
                    <a:pt x="732456" y="1842057"/>
                  </a:lnTo>
                  <a:cubicBezTo>
                    <a:pt x="692772" y="1850178"/>
                    <a:pt x="651684" y="1854442"/>
                    <a:pt x="609600" y="1854442"/>
                  </a:cubicBezTo>
                  <a:cubicBezTo>
                    <a:pt x="272927" y="1854442"/>
                    <a:pt x="0" y="1581515"/>
                    <a:pt x="0" y="1244842"/>
                  </a:cubicBezTo>
                  <a:cubicBezTo>
                    <a:pt x="0" y="950253"/>
                    <a:pt x="208960" y="704470"/>
                    <a:pt x="486744" y="647627"/>
                  </a:cubicBezTo>
                  <a:lnTo>
                    <a:pt x="533111" y="642953"/>
                  </a:lnTo>
                  <a:lnTo>
                    <a:pt x="534623" y="627461"/>
                  </a:lnTo>
                  <a:cubicBezTo>
                    <a:pt x="587322" y="361363"/>
                    <a:pt x="815186" y="161193"/>
                    <a:pt x="1088296" y="161193"/>
                  </a:cubicBezTo>
                  <a:lnTo>
                    <a:pt x="1104766" y="162909"/>
                  </a:lnTo>
                  <a:lnTo>
                    <a:pt x="1104766" y="916689"/>
                  </a:lnTo>
                  <a:cubicBezTo>
                    <a:pt x="1104766" y="986847"/>
                    <a:pt x="1161640" y="1043721"/>
                    <a:pt x="1231798" y="1043721"/>
                  </a:cubicBezTo>
                  <a:lnTo>
                    <a:pt x="1560712" y="1037332"/>
                  </a:lnTo>
                  <a:cubicBezTo>
                    <a:pt x="1588228" y="1037332"/>
                    <a:pt x="1610535" y="1059639"/>
                    <a:pt x="1610535" y="1087155"/>
                  </a:cubicBezTo>
                  <a:lnTo>
                    <a:pt x="1610535" y="1283889"/>
                  </a:lnTo>
                  <a:lnTo>
                    <a:pt x="1610104" y="1283933"/>
                  </a:lnTo>
                  <a:cubicBezTo>
                    <a:pt x="1505768" y="1305283"/>
                    <a:pt x="1427282" y="1397600"/>
                    <a:pt x="1427282" y="1508247"/>
                  </a:cubicBezTo>
                  <a:cubicBezTo>
                    <a:pt x="1427282" y="1634701"/>
                    <a:pt x="1529794" y="1737213"/>
                    <a:pt x="1656248" y="1737213"/>
                  </a:cubicBezTo>
                  <a:cubicBezTo>
                    <a:pt x="1782702" y="1737213"/>
                    <a:pt x="1885214" y="1634701"/>
                    <a:pt x="1885214" y="1508247"/>
                  </a:cubicBezTo>
                  <a:cubicBezTo>
                    <a:pt x="1885214" y="1397600"/>
                    <a:pt x="1806729" y="1305283"/>
                    <a:pt x="1702393" y="1283933"/>
                  </a:cubicBezTo>
                  <a:lnTo>
                    <a:pt x="1698458" y="1283536"/>
                  </a:lnTo>
                  <a:lnTo>
                    <a:pt x="1698458" y="1075707"/>
                  </a:lnTo>
                  <a:cubicBezTo>
                    <a:pt x="1698458" y="1005549"/>
                    <a:pt x="1641584" y="948675"/>
                    <a:pt x="1571426" y="948675"/>
                  </a:cubicBezTo>
                  <a:lnTo>
                    <a:pt x="1242512" y="955064"/>
                  </a:lnTo>
                  <a:cubicBezTo>
                    <a:pt x="1214996" y="955064"/>
                    <a:pt x="1192689" y="932757"/>
                    <a:pt x="1192689" y="905241"/>
                  </a:cubicBezTo>
                  <a:lnTo>
                    <a:pt x="1192689" y="172067"/>
                  </a:lnTo>
                  <a:lnTo>
                    <a:pt x="1195380" y="172347"/>
                  </a:lnTo>
                  <a:lnTo>
                    <a:pt x="1273684" y="105592"/>
                  </a:lnTo>
                  <a:cubicBezTo>
                    <a:pt x="1363883" y="42627"/>
                    <a:pt x="1472620" y="5861"/>
                    <a:pt x="1589667" y="5861"/>
                  </a:cubicBezTo>
                  <a:cubicBezTo>
                    <a:pt x="1667699" y="5861"/>
                    <a:pt x="1742037" y="22201"/>
                    <a:pt x="1809651" y="51751"/>
                  </a:cubicBezTo>
                  <a:lnTo>
                    <a:pt x="1848440" y="73506"/>
                  </a:lnTo>
                  <a:lnTo>
                    <a:pt x="1896573" y="45890"/>
                  </a:lnTo>
                  <a:cubicBezTo>
                    <a:pt x="1962668" y="16340"/>
                    <a:pt x="2035335" y="0"/>
                    <a:pt x="211161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2A314614-27AF-4D01-ACDC-E7A9243A64E6}"/>
              </a:ext>
            </a:extLst>
          </p:cNvPr>
          <p:cNvGrpSpPr/>
          <p:nvPr/>
        </p:nvGrpSpPr>
        <p:grpSpPr>
          <a:xfrm>
            <a:off x="8931666" y="4053672"/>
            <a:ext cx="439070" cy="378446"/>
            <a:chOff x="8376458" y="5925518"/>
            <a:chExt cx="1045926" cy="901512"/>
          </a:xfrm>
        </p:grpSpPr>
        <p:sp>
          <p:nvSpPr>
            <p:cNvPr id="187" name="Star: 4 Points 8">
              <a:extLst>
                <a:ext uri="{FF2B5EF4-FFF2-40B4-BE49-F238E27FC236}">
                  <a16:creationId xmlns:a16="http://schemas.microsoft.com/office/drawing/2014/main" id="{62A072D7-296D-41A2-809D-8DD25084CFD5}"/>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tar: 4 Points 8">
              <a:extLst>
                <a:ext uri="{FF2B5EF4-FFF2-40B4-BE49-F238E27FC236}">
                  <a16:creationId xmlns:a16="http://schemas.microsoft.com/office/drawing/2014/main" id="{B7DD22C7-0E59-4532-B2FF-268E55E513C6}"/>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3A39B3AB-3907-4083-9C23-BAF5F463D8A8}"/>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9">
              <a:extLst>
                <a:ext uri="{FF2B5EF4-FFF2-40B4-BE49-F238E27FC236}">
                  <a16:creationId xmlns:a16="http://schemas.microsoft.com/office/drawing/2014/main" id="{65F020F2-9739-4E7F-BB66-31F15D7BF4EC}"/>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1" name="Rectangle 190">
            <a:extLst>
              <a:ext uri="{FF2B5EF4-FFF2-40B4-BE49-F238E27FC236}">
                <a16:creationId xmlns:a16="http://schemas.microsoft.com/office/drawing/2014/main" id="{67702078-B305-42C6-992F-3B82F2E3679E}"/>
              </a:ext>
            </a:extLst>
          </p:cNvPr>
          <p:cNvSpPr/>
          <p:nvPr/>
        </p:nvSpPr>
        <p:spPr>
          <a:xfrm>
            <a:off x="8705598" y="4455453"/>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pic>
        <p:nvPicPr>
          <p:cNvPr id="192" name="Shape 215">
            <a:extLst>
              <a:ext uri="{FF2B5EF4-FFF2-40B4-BE49-F238E27FC236}">
                <a16:creationId xmlns:a16="http://schemas.microsoft.com/office/drawing/2014/main" id="{7ABCA665-4A6C-4F0F-AB01-EA99D76E69F0}"/>
              </a:ext>
            </a:extLst>
          </p:cNvPr>
          <p:cNvPicPr preferRelativeResize="0"/>
          <p:nvPr/>
        </p:nvPicPr>
        <p:blipFill>
          <a:blip r:embed="rId3" cstate="screen">
            <a:alphaModFix/>
            <a:biLevel thresh="50000"/>
            <a:extLst>
              <a:ext uri="{28A0092B-C50C-407E-A947-70E740481C1C}">
                <a14:useLocalDpi xmlns:a14="http://schemas.microsoft.com/office/drawing/2010/main"/>
              </a:ext>
            </a:extLst>
          </a:blip>
          <a:stretch>
            <a:fillRect/>
          </a:stretch>
        </p:blipFill>
        <p:spPr>
          <a:xfrm>
            <a:off x="10096716" y="4037904"/>
            <a:ext cx="425430" cy="426630"/>
          </a:xfrm>
          <a:prstGeom prst="rect">
            <a:avLst/>
          </a:prstGeom>
          <a:noFill/>
          <a:ln>
            <a:noFill/>
          </a:ln>
        </p:spPr>
      </p:pic>
      <p:sp>
        <p:nvSpPr>
          <p:cNvPr id="193" name="Shape 216">
            <a:extLst>
              <a:ext uri="{FF2B5EF4-FFF2-40B4-BE49-F238E27FC236}">
                <a16:creationId xmlns:a16="http://schemas.microsoft.com/office/drawing/2014/main" id="{158C679C-031C-444A-886D-A5ED6384A8DB}"/>
              </a:ext>
            </a:extLst>
          </p:cNvPr>
          <p:cNvSpPr txBox="1"/>
          <p:nvPr/>
        </p:nvSpPr>
        <p:spPr>
          <a:xfrm>
            <a:off x="9853388" y="4550732"/>
            <a:ext cx="912087" cy="415498"/>
          </a:xfrm>
          <a:prstGeom prst="rect">
            <a:avLst/>
          </a:prstGeom>
          <a:noFill/>
          <a:ln>
            <a:noFill/>
          </a:ln>
        </p:spPr>
        <p:txBody>
          <a:bodyPr lIns="91440" tIns="45720" rIns="91440" bIns="45720" anchor="t" anchorCtr="0">
            <a:spAutoFit/>
          </a:bodyPr>
          <a:lstStyle/>
          <a:p>
            <a:pPr algn="ctr" defTabSz="1219170">
              <a:defRPr/>
            </a:pPr>
            <a:r>
              <a:rPr lang="en-US" sz="1050" kern="0">
                <a:solidFill>
                  <a:srgbClr val="1A1A1A"/>
                </a:solidFill>
                <a:latin typeface="Segoe UI Semibold"/>
                <a:ea typeface="MS PGothic" panose="020B0600070205080204" pitchFamily="34" charset="-128"/>
                <a:cs typeface="Segoe UI Semibold" panose="020B0702040204020203" pitchFamily="34" charset="0"/>
                <a:sym typeface="Arial"/>
              </a:rPr>
              <a:t>Azure App Service</a:t>
            </a:r>
            <a:endParaRPr lang="en" sz="1050" kern="0">
              <a:solidFill>
                <a:srgbClr val="1A1A1A"/>
              </a:solidFill>
              <a:latin typeface="Segoe UI Semibold"/>
              <a:ea typeface="MS PGothic" panose="020B0600070205080204" pitchFamily="34" charset="-128"/>
              <a:cs typeface="Segoe UI Semibold" panose="020B0702040204020203" pitchFamily="34" charset="0"/>
              <a:sym typeface="Arial"/>
            </a:endParaRPr>
          </a:p>
        </p:txBody>
      </p:sp>
      <p:sp>
        <p:nvSpPr>
          <p:cNvPr id="194" name="Shape 222">
            <a:extLst>
              <a:ext uri="{FF2B5EF4-FFF2-40B4-BE49-F238E27FC236}">
                <a16:creationId xmlns:a16="http://schemas.microsoft.com/office/drawing/2014/main" id="{74945E42-9BE5-4809-A0EA-2B9EB5EB1203}"/>
              </a:ext>
            </a:extLst>
          </p:cNvPr>
          <p:cNvSpPr txBox="1"/>
          <p:nvPr/>
        </p:nvSpPr>
        <p:spPr>
          <a:xfrm>
            <a:off x="10953748" y="4352461"/>
            <a:ext cx="1154362" cy="421200"/>
          </a:xfrm>
          <a:prstGeom prst="rect">
            <a:avLst/>
          </a:prstGeom>
          <a:noFill/>
          <a:ln>
            <a:noFill/>
          </a:ln>
        </p:spPr>
        <p:txBody>
          <a:bodyPr lIns="91440" tIns="45720" rIns="91440" bIns="45720" anchor="t"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n-ea"/>
                <a:cs typeface="Arial"/>
                <a:sym typeface="Arial"/>
              </a:rPr>
              <a:t>Web &amp;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n-ea"/>
                <a:cs typeface="Arial"/>
                <a:sym typeface="Arial"/>
              </a:rPr>
              <a:t>mobile apps</a:t>
            </a:r>
            <a:endParaRPr kumimoji="0" lang="en" sz="1050" b="0" i="0" u="none" strike="noStrike" kern="0" cap="none" spc="0" normalizeH="0" baseline="0" noProof="0">
              <a:ln>
                <a:noFill/>
              </a:ln>
              <a:solidFill>
                <a:srgbClr val="1A1A1A"/>
              </a:solidFill>
              <a:effectLst/>
              <a:uLnTx/>
              <a:uFillTx/>
              <a:latin typeface="Segoe UI Semibold"/>
              <a:ea typeface="+mn-ea"/>
              <a:cs typeface="Arial"/>
              <a:sym typeface="Arial"/>
            </a:endParaRPr>
          </a:p>
        </p:txBody>
      </p:sp>
      <p:grpSp>
        <p:nvGrpSpPr>
          <p:cNvPr id="195" name="Group 194">
            <a:extLst>
              <a:ext uri="{FF2B5EF4-FFF2-40B4-BE49-F238E27FC236}">
                <a16:creationId xmlns:a16="http://schemas.microsoft.com/office/drawing/2014/main" id="{15A5A29D-7EEA-410A-B31B-095569460B90}"/>
              </a:ext>
            </a:extLst>
          </p:cNvPr>
          <p:cNvGrpSpPr/>
          <p:nvPr/>
        </p:nvGrpSpPr>
        <p:grpSpPr>
          <a:xfrm>
            <a:off x="11232418" y="3836304"/>
            <a:ext cx="597022" cy="397434"/>
            <a:chOff x="11045596" y="2247786"/>
            <a:chExt cx="736138" cy="490042"/>
          </a:xfrm>
        </p:grpSpPr>
        <p:grpSp>
          <p:nvGrpSpPr>
            <p:cNvPr id="196" name="Group 195">
              <a:extLst>
                <a:ext uri="{FF2B5EF4-FFF2-40B4-BE49-F238E27FC236}">
                  <a16:creationId xmlns:a16="http://schemas.microsoft.com/office/drawing/2014/main" id="{5A188335-2250-4155-893F-F5680490E22D}"/>
                </a:ext>
              </a:extLst>
            </p:cNvPr>
            <p:cNvGrpSpPr/>
            <p:nvPr/>
          </p:nvGrpSpPr>
          <p:grpSpPr>
            <a:xfrm>
              <a:off x="11045596" y="2247786"/>
              <a:ext cx="736138" cy="490042"/>
              <a:chOff x="2158428" y="1769885"/>
              <a:chExt cx="6300710" cy="4194336"/>
            </a:xfrm>
          </p:grpSpPr>
          <p:sp>
            <p:nvSpPr>
              <p:cNvPr id="198" name="Rectangle 197">
                <a:extLst>
                  <a:ext uri="{FF2B5EF4-FFF2-40B4-BE49-F238E27FC236}">
                    <a16:creationId xmlns:a16="http://schemas.microsoft.com/office/drawing/2014/main" id="{6D37B092-4104-447E-85C1-6696947BA0AD}"/>
                  </a:ext>
                </a:extLst>
              </p:cNvPr>
              <p:cNvSpPr/>
              <p:nvPr/>
            </p:nvSpPr>
            <p:spPr>
              <a:xfrm>
                <a:off x="2158428" y="2074895"/>
                <a:ext cx="6300710" cy="3889326"/>
              </a:xfrm>
              <a:prstGeom prst="rect">
                <a:avLst/>
              </a:prstGeom>
              <a:solidFill>
                <a:schemeClr val="accent1"/>
              </a:solidFill>
              <a:ln w="762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E66E6AC3-4950-4597-91A7-DFC79BD96E83}"/>
                  </a:ext>
                </a:extLst>
              </p:cNvPr>
              <p:cNvSpPr/>
              <p:nvPr/>
            </p:nvSpPr>
            <p:spPr>
              <a:xfrm>
                <a:off x="2158428" y="1769885"/>
                <a:ext cx="6300710" cy="306148"/>
              </a:xfrm>
              <a:prstGeom prst="rect">
                <a:avLst/>
              </a:prstGeom>
              <a:solidFill>
                <a:srgbClr val="005A9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0" name="Rounded Rectangle 215">
                <a:extLst>
                  <a:ext uri="{FF2B5EF4-FFF2-40B4-BE49-F238E27FC236}">
                    <a16:creationId xmlns:a16="http://schemas.microsoft.com/office/drawing/2014/main" id="{4A82A4D5-9810-4CFC-B57C-3D69742BE855}"/>
                  </a:ext>
                </a:extLst>
              </p:cNvPr>
              <p:cNvSpPr/>
              <p:nvPr/>
            </p:nvSpPr>
            <p:spPr>
              <a:xfrm>
                <a:off x="2300013" y="2230920"/>
                <a:ext cx="6017538" cy="3577273"/>
              </a:xfrm>
              <a:prstGeom prst="roundRect">
                <a:avLst>
                  <a:gd name="adj" fmla="val 1965"/>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7" name="Multiply 216">
                <a:extLst>
                  <a:ext uri="{FF2B5EF4-FFF2-40B4-BE49-F238E27FC236}">
                    <a16:creationId xmlns:a16="http://schemas.microsoft.com/office/drawing/2014/main" id="{4BC4AFD6-3DFC-4541-83D9-228E943DAC10}"/>
                  </a:ext>
                </a:extLst>
              </p:cNvPr>
              <p:cNvSpPr/>
              <p:nvPr/>
            </p:nvSpPr>
            <p:spPr>
              <a:xfrm>
                <a:off x="8161932" y="1798086"/>
                <a:ext cx="249745" cy="249745"/>
              </a:xfrm>
              <a:prstGeom prst="mathMultiply">
                <a:avLst>
                  <a:gd name="adj1" fmla="val 12626"/>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8" name="Rectangle 227">
                <a:extLst>
                  <a:ext uri="{FF2B5EF4-FFF2-40B4-BE49-F238E27FC236}">
                    <a16:creationId xmlns:a16="http://schemas.microsoft.com/office/drawing/2014/main" id="{2377CEE7-5AB2-44B3-B11A-0C429EB27EDE}"/>
                  </a:ext>
                </a:extLst>
              </p:cNvPr>
              <p:cNvSpPr/>
              <p:nvPr/>
            </p:nvSpPr>
            <p:spPr>
              <a:xfrm>
                <a:off x="7629467" y="1953420"/>
                <a:ext cx="163048" cy="44031"/>
              </a:xfrm>
              <a:prstGeom prst="rect">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9" name="Freeform 221">
                <a:extLst>
                  <a:ext uri="{FF2B5EF4-FFF2-40B4-BE49-F238E27FC236}">
                    <a16:creationId xmlns:a16="http://schemas.microsoft.com/office/drawing/2014/main" id="{6B88CEC4-577F-40E3-A25C-2B6AD5C58852}"/>
                  </a:ext>
                </a:extLst>
              </p:cNvPr>
              <p:cNvSpPr/>
              <p:nvPr/>
            </p:nvSpPr>
            <p:spPr>
              <a:xfrm>
                <a:off x="7886700" y="1831521"/>
                <a:ext cx="204107" cy="165930"/>
              </a:xfrm>
              <a:custGeom>
                <a:avLst/>
                <a:gdLst>
                  <a:gd name="connsiteX0" fmla="*/ 29934 w 204107"/>
                  <a:gd name="connsiteY0" fmla="*/ 50347 h 165930"/>
                  <a:gd name="connsiteX1" fmla="*/ 29934 w 204107"/>
                  <a:gd name="connsiteY1" fmla="*/ 135599 h 165930"/>
                  <a:gd name="connsiteX2" fmla="*/ 174172 w 204107"/>
                  <a:gd name="connsiteY2" fmla="*/ 135599 h 165930"/>
                  <a:gd name="connsiteX3" fmla="*/ 174172 w 204107"/>
                  <a:gd name="connsiteY3" fmla="*/ 50347 h 165930"/>
                  <a:gd name="connsiteX4" fmla="*/ 0 w 204107"/>
                  <a:gd name="connsiteY4" fmla="*/ 0 h 165930"/>
                  <a:gd name="connsiteX5" fmla="*/ 204107 w 204107"/>
                  <a:gd name="connsiteY5" fmla="*/ 0 h 165930"/>
                  <a:gd name="connsiteX6" fmla="*/ 204107 w 204107"/>
                  <a:gd name="connsiteY6" fmla="*/ 165930 h 165930"/>
                  <a:gd name="connsiteX7" fmla="*/ 0 w 204107"/>
                  <a:gd name="connsiteY7" fmla="*/ 165930 h 16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107" h="165930">
                    <a:moveTo>
                      <a:pt x="29934" y="50347"/>
                    </a:moveTo>
                    <a:lnTo>
                      <a:pt x="29934" y="135599"/>
                    </a:lnTo>
                    <a:lnTo>
                      <a:pt x="174172" y="135599"/>
                    </a:lnTo>
                    <a:lnTo>
                      <a:pt x="174172" y="50347"/>
                    </a:lnTo>
                    <a:close/>
                    <a:moveTo>
                      <a:pt x="0" y="0"/>
                    </a:moveTo>
                    <a:lnTo>
                      <a:pt x="204107" y="0"/>
                    </a:lnTo>
                    <a:lnTo>
                      <a:pt x="204107" y="165930"/>
                    </a:lnTo>
                    <a:lnTo>
                      <a:pt x="0" y="165930"/>
                    </a:lnTo>
                    <a:close/>
                  </a:path>
                </a:pathLst>
              </a:custGeom>
              <a:solidFill>
                <a:srgbClr val="FFFFFF"/>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97" name="Up Arrow 6">
              <a:extLst>
                <a:ext uri="{FF2B5EF4-FFF2-40B4-BE49-F238E27FC236}">
                  <a16:creationId xmlns:a16="http://schemas.microsoft.com/office/drawing/2014/main" id="{7C2D40EA-B763-49DC-898A-DAD0C2445E63}"/>
                </a:ext>
              </a:extLst>
            </p:cNvPr>
            <p:cNvSpPr/>
            <p:nvPr/>
          </p:nvSpPr>
          <p:spPr bwMode="auto">
            <a:xfrm rot="2700000">
              <a:off x="11319129" y="2358291"/>
              <a:ext cx="248494" cy="291123"/>
            </a:xfrm>
            <a:prstGeom prst="upArrow">
              <a:avLst>
                <a:gd name="adj1" fmla="val 55098"/>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30" name="Straight Arrow Connector 229">
            <a:extLst>
              <a:ext uri="{FF2B5EF4-FFF2-40B4-BE49-F238E27FC236}">
                <a16:creationId xmlns:a16="http://schemas.microsoft.com/office/drawing/2014/main" id="{806FC893-5942-485B-BCE3-DE6368764DC9}"/>
              </a:ext>
            </a:extLst>
          </p:cNvPr>
          <p:cNvCxnSpPr>
            <a:cxnSpLocks/>
          </p:cNvCxnSpPr>
          <p:nvPr/>
        </p:nvCxnSpPr>
        <p:spPr>
          <a:xfrm>
            <a:off x="5560940" y="4233738"/>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a16="http://schemas.microsoft.com/office/drawing/2014/main" id="{A378C9AE-C361-4DAD-A1BA-085AA8ED5BF4}"/>
              </a:ext>
            </a:extLst>
          </p:cNvPr>
          <p:cNvCxnSpPr>
            <a:cxnSpLocks/>
          </p:cNvCxnSpPr>
          <p:nvPr/>
        </p:nvCxnSpPr>
        <p:spPr>
          <a:xfrm>
            <a:off x="7881529" y="4233738"/>
            <a:ext cx="82406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a16="http://schemas.microsoft.com/office/drawing/2014/main" id="{33B952E0-C77F-41A9-865A-F2B9F59F1BC3}"/>
              </a:ext>
            </a:extLst>
          </p:cNvPr>
          <p:cNvCxnSpPr>
            <a:cxnSpLocks/>
          </p:cNvCxnSpPr>
          <p:nvPr/>
        </p:nvCxnSpPr>
        <p:spPr>
          <a:xfrm>
            <a:off x="9590996" y="4233738"/>
            <a:ext cx="262392"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48300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588263" y="1744907"/>
            <a:ext cx="1268042" cy="338554"/>
          </a:xfrm>
          <a:prstGeom prst="rect">
            <a:avLst/>
          </a:prstGeom>
        </p:spPr>
        <p:txBody>
          <a:bodyPr vert="horz" wrap="square" lIns="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009351" y="1744907"/>
            <a:ext cx="1678348" cy="338554"/>
          </a:xfrm>
          <a:prstGeom prst="rect">
            <a:avLst/>
          </a:prstGeom>
        </p:spPr>
        <p:txBody>
          <a:bodyPr vert="horz" wrap="square" lIns="9144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Cutting-edge AI </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561881" y="1744907"/>
            <a:ext cx="2131280" cy="584775"/>
          </a:xfrm>
          <a:prstGeom prst="rect">
            <a:avLst/>
          </a:prstGeom>
        </p:spPr>
        <p:txBody>
          <a:bodyPr vert="horz" wrap="square" lIns="91440" tIns="45720" rIns="91440" bIns="4572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Fully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p:txBody>
          <a:bodyPr/>
          <a:lstStyle/>
          <a:p>
            <a:pPr algn="ctr"/>
            <a:r>
              <a:rPr lang="en-US"/>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243201" y="3226880"/>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683801" y="3233056"/>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document_3">
            <a:extLst>
              <a:ext uri="{FF2B5EF4-FFF2-40B4-BE49-F238E27FC236}">
                <a16:creationId xmlns:a16="http://schemas.microsoft.com/office/drawing/2014/main" id="{13D6D4C7-313B-4BCC-AF19-3F1505B60B09}"/>
              </a:ext>
            </a:extLst>
          </p:cNvPr>
          <p:cNvSpPr>
            <a:spLocks noChangeAspect="1" noEditPoints="1"/>
          </p:cNvSpPr>
          <p:nvPr/>
        </p:nvSpPr>
        <p:spPr bwMode="auto">
          <a:xfrm>
            <a:off x="754638" y="3876095"/>
            <a:ext cx="442170" cy="511985"/>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735412" y="2433527"/>
            <a:ext cx="222270" cy="35552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24782" y="3500327"/>
            <a:ext cx="343534" cy="271610"/>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713865" y="3475441"/>
            <a:ext cx="265364" cy="29649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674780" y="5431943"/>
            <a:ext cx="343534" cy="294256"/>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086654" y="5411460"/>
            <a:ext cx="263532" cy="322598"/>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288344" y="5372622"/>
            <a:ext cx="216410" cy="34098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713838" y="4446007"/>
            <a:ext cx="265398" cy="334526"/>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071524" y="2495257"/>
            <a:ext cx="293790" cy="293790"/>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18815C42-C69E-4AFB-810C-6B9DECA49B9B}"/>
              </a:ext>
            </a:extLst>
          </p:cNvPr>
          <p:cNvSpPr txBox="1"/>
          <p:nvPr/>
        </p:nvSpPr>
        <p:spPr>
          <a:xfrm>
            <a:off x="2559846" y="2832944"/>
            <a:ext cx="167340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875769" y="2832944"/>
            <a:ext cx="194155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498511" y="2832944"/>
            <a:ext cx="143981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291570" y="3811258"/>
            <a:ext cx="2209958"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899805" y="3811258"/>
            <a:ext cx="1893484"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52633" y="3811258"/>
            <a:ext cx="153157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813954" y="4789572"/>
            <a:ext cx="1165191"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5048316" y="4789572"/>
            <a:ext cx="159646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652527" y="4789572"/>
            <a:ext cx="1131784"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63198" y="5767887"/>
            <a:ext cx="106670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78356" y="5767887"/>
            <a:ext cx="153638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27630" y="5767887"/>
            <a:ext cx="1781578"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108691" y="4498403"/>
            <a:ext cx="219456" cy="259624"/>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59508" y="3475441"/>
            <a:ext cx="317823" cy="294280"/>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212742" y="4388674"/>
            <a:ext cx="367615" cy="367615"/>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22250" y="2438947"/>
            <a:ext cx="348598" cy="348598"/>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5287" y="4173926"/>
              <a:ext cx="740664" cy="740664"/>
            </a:xfrm>
            <a:prstGeom prst="ellipse">
              <a:avLst/>
            </a:prstGeom>
            <a:ln w="12700">
              <a:solidFill>
                <a:schemeClr val="accent1"/>
              </a:solidFill>
            </a:ln>
          </p:spPr>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grpSp>
      <p:grpSp>
        <p:nvGrpSpPr>
          <p:cNvPr id="41" name="Group 40">
            <a:extLst>
              <a:ext uri="{FF2B5EF4-FFF2-40B4-BE49-F238E27FC236}">
                <a16:creationId xmlns:a16="http://schemas.microsoft.com/office/drawing/2014/main" id="{85D512FC-0B3F-45ED-842D-952E4F2960D3}"/>
              </a:ext>
            </a:extLst>
          </p:cNvPr>
          <p:cNvGrpSpPr/>
          <p:nvPr/>
        </p:nvGrpSpPr>
        <p:grpSpPr>
          <a:xfrm>
            <a:off x="9958537" y="3152615"/>
            <a:ext cx="1572330" cy="2007214"/>
            <a:chOff x="9848188" y="3033451"/>
            <a:chExt cx="1905708" cy="2432800"/>
          </a:xfrm>
        </p:grpSpPr>
        <p:sp>
          <p:nvSpPr>
            <p:cNvPr id="4" name="Oval 3">
              <a:extLst>
                <a:ext uri="{FF2B5EF4-FFF2-40B4-BE49-F238E27FC236}">
                  <a16:creationId xmlns:a16="http://schemas.microsoft.com/office/drawing/2014/main" id="{DF0449DF-48CB-4D7A-BB8F-EABC9E7F277E}"/>
                </a:ext>
              </a:extLst>
            </p:cNvPr>
            <p:cNvSpPr/>
            <p:nvPr/>
          </p:nvSpPr>
          <p:spPr bwMode="auto">
            <a:xfrm>
              <a:off x="10907771"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Oval 121">
              <a:extLst>
                <a:ext uri="{FF2B5EF4-FFF2-40B4-BE49-F238E27FC236}">
                  <a16:creationId xmlns:a16="http://schemas.microsoft.com/office/drawing/2014/main" id="{88323BE7-C8CB-4E8C-8ECE-C148A69ACAE5}"/>
                </a:ext>
              </a:extLst>
            </p:cNvPr>
            <p:cNvSpPr/>
            <p:nvPr/>
          </p:nvSpPr>
          <p:spPr bwMode="auto">
            <a:xfrm>
              <a:off x="10424445" y="3876095"/>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6F5E8C9B-A585-42BC-9E6D-197C44F83164}"/>
                </a:ext>
              </a:extLst>
            </p:cNvPr>
            <p:cNvSpPr/>
            <p:nvPr/>
          </p:nvSpPr>
          <p:spPr bwMode="auto">
            <a:xfrm>
              <a:off x="11033662" y="3447658"/>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6303F5E0-47B3-4A39-A38C-D33678667FD2}"/>
                </a:ext>
              </a:extLst>
            </p:cNvPr>
            <p:cNvSpPr/>
            <p:nvPr/>
          </p:nvSpPr>
          <p:spPr bwMode="auto">
            <a:xfrm>
              <a:off x="11000732" y="477328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3">
              <a:extLst>
                <a:ext uri="{FF2B5EF4-FFF2-40B4-BE49-F238E27FC236}">
                  <a16:creationId xmlns:a16="http://schemas.microsoft.com/office/drawing/2014/main" id="{320A1873-83D6-4403-9C56-68D79EBDFE2F}"/>
                </a:ext>
              </a:extLst>
            </p:cNvPr>
            <p:cNvSpPr/>
            <p:nvPr/>
          </p:nvSpPr>
          <p:spPr bwMode="auto">
            <a:xfrm>
              <a:off x="10465155" y="489520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Oval 139">
              <a:extLst>
                <a:ext uri="{FF2B5EF4-FFF2-40B4-BE49-F238E27FC236}">
                  <a16:creationId xmlns:a16="http://schemas.microsoft.com/office/drawing/2014/main" id="{0DCB65A2-C92C-4DD7-BEAA-586F142075A5}"/>
                </a:ext>
              </a:extLst>
            </p:cNvPr>
            <p:cNvSpPr/>
            <p:nvPr/>
          </p:nvSpPr>
          <p:spPr bwMode="auto">
            <a:xfrm>
              <a:off x="11000732" y="522241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Oval 140">
              <a:extLst>
                <a:ext uri="{FF2B5EF4-FFF2-40B4-BE49-F238E27FC236}">
                  <a16:creationId xmlns:a16="http://schemas.microsoft.com/office/drawing/2014/main" id="{C981EB0E-1D8B-472B-AE4B-FD44C0092432}"/>
                </a:ext>
              </a:extLst>
            </p:cNvPr>
            <p:cNvSpPr/>
            <p:nvPr/>
          </p:nvSpPr>
          <p:spPr bwMode="auto">
            <a:xfrm>
              <a:off x="11437362" y="477328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Oval 141">
              <a:extLst>
                <a:ext uri="{FF2B5EF4-FFF2-40B4-BE49-F238E27FC236}">
                  <a16:creationId xmlns:a16="http://schemas.microsoft.com/office/drawing/2014/main" id="{C49C1250-A77A-4196-B4ED-440D6084F390}"/>
                </a:ext>
              </a:extLst>
            </p:cNvPr>
            <p:cNvSpPr/>
            <p:nvPr/>
          </p:nvSpPr>
          <p:spPr bwMode="auto">
            <a:xfrm>
              <a:off x="11430332" y="3447658"/>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Oval 143">
              <a:extLst>
                <a:ext uri="{FF2B5EF4-FFF2-40B4-BE49-F238E27FC236}">
                  <a16:creationId xmlns:a16="http://schemas.microsoft.com/office/drawing/2014/main" id="{26970C43-3AE3-484C-9F2F-5B28C4391734}"/>
                </a:ext>
              </a:extLst>
            </p:cNvPr>
            <p:cNvSpPr/>
            <p:nvPr/>
          </p:nvSpPr>
          <p:spPr bwMode="auto">
            <a:xfrm>
              <a:off x="11033662" y="303345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Oval 144">
              <a:extLst>
                <a:ext uri="{FF2B5EF4-FFF2-40B4-BE49-F238E27FC236}">
                  <a16:creationId xmlns:a16="http://schemas.microsoft.com/office/drawing/2014/main" id="{DDE4C636-0DC3-431D-B9EF-EDDE407A642D}"/>
                </a:ext>
              </a:extLst>
            </p:cNvPr>
            <p:cNvSpPr/>
            <p:nvPr/>
          </p:nvSpPr>
          <p:spPr bwMode="auto">
            <a:xfrm>
              <a:off x="10383681" y="335352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Oval 145">
              <a:extLst>
                <a:ext uri="{FF2B5EF4-FFF2-40B4-BE49-F238E27FC236}">
                  <a16:creationId xmlns:a16="http://schemas.microsoft.com/office/drawing/2014/main" id="{F5A1A32A-778B-4667-9C1F-BE1F1C9FC7CB}"/>
                </a:ext>
              </a:extLst>
            </p:cNvPr>
            <p:cNvSpPr/>
            <p:nvPr/>
          </p:nvSpPr>
          <p:spPr bwMode="auto">
            <a:xfrm>
              <a:off x="9848188" y="358587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Oval 146">
              <a:extLst>
                <a:ext uri="{FF2B5EF4-FFF2-40B4-BE49-F238E27FC236}">
                  <a16:creationId xmlns:a16="http://schemas.microsoft.com/office/drawing/2014/main" id="{EC5A75C1-1F59-4B08-9A16-DF5E36555221}"/>
                </a:ext>
              </a:extLst>
            </p:cNvPr>
            <p:cNvSpPr/>
            <p:nvPr/>
          </p:nvSpPr>
          <p:spPr bwMode="auto">
            <a:xfrm>
              <a:off x="9994014"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Oval 147">
              <a:extLst>
                <a:ext uri="{FF2B5EF4-FFF2-40B4-BE49-F238E27FC236}">
                  <a16:creationId xmlns:a16="http://schemas.microsoft.com/office/drawing/2014/main" id="{26AA1C3E-50AE-42BC-9FD7-765EC46CE4C5}"/>
                </a:ext>
              </a:extLst>
            </p:cNvPr>
            <p:cNvSpPr/>
            <p:nvPr/>
          </p:nvSpPr>
          <p:spPr bwMode="auto">
            <a:xfrm>
              <a:off x="11510056"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B32C4ED6-A9E8-456C-9F8D-EE1712DC8E9E}"/>
                </a:ext>
              </a:extLst>
            </p:cNvPr>
            <p:cNvCxnSpPr>
              <a:stCxn id="4" idx="6"/>
              <a:endCxn id="148" idx="2"/>
            </p:cNvCxnSpPr>
            <p:nvPr/>
          </p:nvCxnSpPr>
          <p:spPr>
            <a:xfrm>
              <a:off x="11151611" y="4262540"/>
              <a:ext cx="358445"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6" name="Straight Arrow Connector 15">
              <a:extLst>
                <a:ext uri="{FF2B5EF4-FFF2-40B4-BE49-F238E27FC236}">
                  <a16:creationId xmlns:a16="http://schemas.microsoft.com/office/drawing/2014/main" id="{9C465E59-1CD0-43ED-861F-301371DB4345}"/>
                </a:ext>
              </a:extLst>
            </p:cNvPr>
            <p:cNvCxnSpPr>
              <a:stCxn id="4" idx="4"/>
              <a:endCxn id="132" idx="0"/>
            </p:cNvCxnSpPr>
            <p:nvPr/>
          </p:nvCxnSpPr>
          <p:spPr>
            <a:xfrm>
              <a:off x="11029691" y="4384460"/>
              <a:ext cx="92961" cy="388829"/>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8" name="Straight Arrow Connector 17">
              <a:extLst>
                <a:ext uri="{FF2B5EF4-FFF2-40B4-BE49-F238E27FC236}">
                  <a16:creationId xmlns:a16="http://schemas.microsoft.com/office/drawing/2014/main" id="{DAA7F6E5-B202-4765-9D55-D39C70B93727}"/>
                </a:ext>
              </a:extLst>
            </p:cNvPr>
            <p:cNvCxnSpPr>
              <a:stCxn id="132" idx="2"/>
              <a:endCxn id="134" idx="6"/>
            </p:cNvCxnSpPr>
            <p:nvPr/>
          </p:nvCxnSpPr>
          <p:spPr>
            <a:xfrm flipH="1">
              <a:off x="10708995" y="4895209"/>
              <a:ext cx="291737" cy="12192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0" name="Straight Arrow Connector 19">
              <a:extLst>
                <a:ext uri="{FF2B5EF4-FFF2-40B4-BE49-F238E27FC236}">
                  <a16:creationId xmlns:a16="http://schemas.microsoft.com/office/drawing/2014/main" id="{F690CF75-A51A-4EC1-975C-C3A49E8C8C20}"/>
                </a:ext>
              </a:extLst>
            </p:cNvPr>
            <p:cNvCxnSpPr>
              <a:stCxn id="132" idx="6"/>
              <a:endCxn id="141" idx="2"/>
            </p:cNvCxnSpPr>
            <p:nvPr/>
          </p:nvCxnSpPr>
          <p:spPr>
            <a:xfrm>
              <a:off x="11244572" y="4895209"/>
              <a:ext cx="192790"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2" name="Straight Arrow Connector 21">
              <a:extLst>
                <a:ext uri="{FF2B5EF4-FFF2-40B4-BE49-F238E27FC236}">
                  <a16:creationId xmlns:a16="http://schemas.microsoft.com/office/drawing/2014/main" id="{C90D4A18-197D-420E-B9C7-3C0A35B84FAA}"/>
                </a:ext>
              </a:extLst>
            </p:cNvPr>
            <p:cNvCxnSpPr>
              <a:stCxn id="132" idx="4"/>
              <a:endCxn id="140" idx="0"/>
            </p:cNvCxnSpPr>
            <p:nvPr/>
          </p:nvCxnSpPr>
          <p:spPr>
            <a:xfrm>
              <a:off x="11122652" y="5017129"/>
              <a:ext cx="0" cy="205282"/>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4" name="Straight Arrow Connector 23">
              <a:extLst>
                <a:ext uri="{FF2B5EF4-FFF2-40B4-BE49-F238E27FC236}">
                  <a16:creationId xmlns:a16="http://schemas.microsoft.com/office/drawing/2014/main" id="{DBF1ACC8-E75D-4464-9D04-0F145130AD78}"/>
                </a:ext>
              </a:extLst>
            </p:cNvPr>
            <p:cNvCxnSpPr>
              <a:stCxn id="4" idx="1"/>
              <a:endCxn id="122" idx="6"/>
            </p:cNvCxnSpPr>
            <p:nvPr/>
          </p:nvCxnSpPr>
          <p:spPr>
            <a:xfrm flipH="1" flipV="1">
              <a:off x="10668285" y="3998015"/>
              <a:ext cx="275196" cy="1783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6" name="Straight Arrow Connector 25">
              <a:extLst>
                <a:ext uri="{FF2B5EF4-FFF2-40B4-BE49-F238E27FC236}">
                  <a16:creationId xmlns:a16="http://schemas.microsoft.com/office/drawing/2014/main" id="{2B10A308-D0E6-49F0-AE68-381210F316B6}"/>
                </a:ext>
              </a:extLst>
            </p:cNvPr>
            <p:cNvCxnSpPr>
              <a:stCxn id="4" idx="0"/>
              <a:endCxn id="123" idx="4"/>
            </p:cNvCxnSpPr>
            <p:nvPr/>
          </p:nvCxnSpPr>
          <p:spPr>
            <a:xfrm flipV="1">
              <a:off x="11029691" y="3691498"/>
              <a:ext cx="125891" cy="449122"/>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0" name="Straight Arrow Connector 29">
              <a:extLst>
                <a:ext uri="{FF2B5EF4-FFF2-40B4-BE49-F238E27FC236}">
                  <a16:creationId xmlns:a16="http://schemas.microsoft.com/office/drawing/2014/main" id="{AA8B91A3-68D9-4DB9-A4D7-A4E89D5A7306}"/>
                </a:ext>
              </a:extLst>
            </p:cNvPr>
            <p:cNvCxnSpPr>
              <a:stCxn id="123" idx="0"/>
              <a:endCxn id="144" idx="4"/>
            </p:cNvCxnSpPr>
            <p:nvPr/>
          </p:nvCxnSpPr>
          <p:spPr>
            <a:xfrm flipV="1">
              <a:off x="11155582" y="3277291"/>
              <a:ext cx="0" cy="170367"/>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2" name="Straight Arrow Connector 31">
              <a:extLst>
                <a:ext uri="{FF2B5EF4-FFF2-40B4-BE49-F238E27FC236}">
                  <a16:creationId xmlns:a16="http://schemas.microsoft.com/office/drawing/2014/main" id="{87AB06AC-F7B4-45DE-8D3F-309C28FE9968}"/>
                </a:ext>
              </a:extLst>
            </p:cNvPr>
            <p:cNvCxnSpPr>
              <a:stCxn id="123" idx="6"/>
              <a:endCxn id="142" idx="2"/>
            </p:cNvCxnSpPr>
            <p:nvPr/>
          </p:nvCxnSpPr>
          <p:spPr>
            <a:xfrm>
              <a:off x="11277502" y="3569578"/>
              <a:ext cx="152830"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4" name="Straight Arrow Connector 33">
              <a:extLst>
                <a:ext uri="{FF2B5EF4-FFF2-40B4-BE49-F238E27FC236}">
                  <a16:creationId xmlns:a16="http://schemas.microsoft.com/office/drawing/2014/main" id="{F87336B2-2E37-4EAC-976E-50D71C0DDC35}"/>
                </a:ext>
              </a:extLst>
            </p:cNvPr>
            <p:cNvCxnSpPr>
              <a:stCxn id="122" idx="0"/>
              <a:endCxn id="145" idx="4"/>
            </p:cNvCxnSpPr>
            <p:nvPr/>
          </p:nvCxnSpPr>
          <p:spPr>
            <a:xfrm flipH="1" flipV="1">
              <a:off x="10505601" y="3597361"/>
              <a:ext cx="40764" cy="278734"/>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6" name="Straight Arrow Connector 35">
              <a:extLst>
                <a:ext uri="{FF2B5EF4-FFF2-40B4-BE49-F238E27FC236}">
                  <a16:creationId xmlns:a16="http://schemas.microsoft.com/office/drawing/2014/main" id="{9E678A91-C84D-4CA0-99E9-CEFA98DD0DB1}"/>
                </a:ext>
              </a:extLst>
            </p:cNvPr>
            <p:cNvCxnSpPr>
              <a:stCxn id="122" idx="1"/>
              <a:endCxn id="146" idx="6"/>
            </p:cNvCxnSpPr>
            <p:nvPr/>
          </p:nvCxnSpPr>
          <p:spPr>
            <a:xfrm flipH="1" flipV="1">
              <a:off x="10092028" y="3707790"/>
              <a:ext cx="368127" cy="2040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8" name="Straight Arrow Connector 37">
              <a:extLst>
                <a:ext uri="{FF2B5EF4-FFF2-40B4-BE49-F238E27FC236}">
                  <a16:creationId xmlns:a16="http://schemas.microsoft.com/office/drawing/2014/main" id="{A2F81C9D-CBE6-4EF3-8EFE-569B17E7366E}"/>
                </a:ext>
              </a:extLst>
            </p:cNvPr>
            <p:cNvCxnSpPr>
              <a:stCxn id="122" idx="3"/>
              <a:endCxn id="147" idx="6"/>
            </p:cNvCxnSpPr>
            <p:nvPr/>
          </p:nvCxnSpPr>
          <p:spPr>
            <a:xfrm flipH="1">
              <a:off x="10237854" y="4084225"/>
              <a:ext cx="222301" cy="1783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grpSp>
    </p:spTree>
    <p:extLst>
      <p:ext uri="{BB962C8B-B14F-4D97-AF65-F5344CB8AC3E}">
        <p14:creationId xmlns:p14="http://schemas.microsoft.com/office/powerpoint/2010/main" val="414004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p:txBody>
      </p:sp>
      <p:sp>
        <p:nvSpPr>
          <p:cNvPr id="7" name="Title 1">
            <a:extLst>
              <a:ext uri="{FF2B5EF4-FFF2-40B4-BE49-F238E27FC236}">
                <a16:creationId xmlns:a16="http://schemas.microsoft.com/office/drawing/2014/main" id="{4ACBB267-7833-499D-A201-EA102D51539C}"/>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An alternative, where IoT Hub can be installed on-prem.</a:t>
            </a:r>
          </a:p>
        </p:txBody>
      </p:sp>
      <p:pic>
        <p:nvPicPr>
          <p:cNvPr id="2" name="Picture 1">
            <a:extLst>
              <a:ext uri="{FF2B5EF4-FFF2-40B4-BE49-F238E27FC236}">
                <a16:creationId xmlns:a16="http://schemas.microsoft.com/office/drawing/2014/main" id="{5A9A3FFD-C223-40DA-8EA6-1566FE369601}"/>
              </a:ext>
            </a:extLst>
          </p:cNvPr>
          <p:cNvPicPr>
            <a:picLocks noChangeAspect="1"/>
          </p:cNvPicPr>
          <p:nvPr/>
        </p:nvPicPr>
        <p:blipFill>
          <a:blip r:embed="rId3"/>
          <a:stretch>
            <a:fillRect/>
          </a:stretch>
        </p:blipFill>
        <p:spPr>
          <a:xfrm>
            <a:off x="3385711" y="1"/>
            <a:ext cx="8453458" cy="6858000"/>
          </a:xfrm>
          <a:prstGeom prst="rect">
            <a:avLst/>
          </a:prstGeom>
        </p:spPr>
      </p:pic>
    </p:spTree>
    <p:extLst>
      <p:ext uri="{BB962C8B-B14F-4D97-AF65-F5344CB8AC3E}">
        <p14:creationId xmlns:p14="http://schemas.microsoft.com/office/powerpoint/2010/main" val="13990784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3905270-DA37-4DA3-B45D-EBDB6138F2A9}"/>
              </a:ext>
            </a:extLst>
          </p:cNvPr>
          <p:cNvSpPr>
            <a:spLocks noGrp="1"/>
          </p:cNvSpPr>
          <p:nvPr>
            <p:ph type="title" idx="4294967295"/>
          </p:nvPr>
        </p:nvSpPr>
        <p:spPr>
          <a:xfrm>
            <a:off x="585216" y="2461265"/>
            <a:ext cx="3887788" cy="996950"/>
          </a:xfrm>
        </p:spPr>
        <p:txBody>
          <a:bodyPr>
            <a:normAutofit fontScale="90000"/>
          </a:bodyPr>
          <a:lstStyle/>
          <a:p>
            <a:r>
              <a:rPr lang="en-IN" dirty="0"/>
              <a:t>Knowledge mining</a:t>
            </a:r>
            <a:br>
              <a:rPr lang="en-IN" dirty="0"/>
            </a:br>
            <a:r>
              <a:rPr lang="en-IN" dirty="0"/>
              <a:t>Demo</a:t>
            </a:r>
            <a:endParaRPr lang="en-US" dirty="0"/>
          </a:p>
        </p:txBody>
      </p:sp>
      <p:sp>
        <p:nvSpPr>
          <p:cNvPr id="9" name="Text Placeholder 8">
            <a:extLst>
              <a:ext uri="{FF2B5EF4-FFF2-40B4-BE49-F238E27FC236}">
                <a16:creationId xmlns:a16="http://schemas.microsoft.com/office/drawing/2014/main" id="{95F35D56-F37F-47D2-B5B0-4EEA5F0FC24F}"/>
              </a:ext>
            </a:extLst>
          </p:cNvPr>
          <p:cNvSpPr>
            <a:spLocks noGrp="1"/>
          </p:cNvSpPr>
          <p:nvPr>
            <p:ph type="body" sz="quarter" idx="4294967295"/>
          </p:nvPr>
        </p:nvSpPr>
        <p:spPr>
          <a:xfrm>
            <a:off x="585216" y="3785812"/>
            <a:ext cx="3887788" cy="307975"/>
          </a:xfrm>
        </p:spPr>
        <p:txBody>
          <a:bodyPr>
            <a:normAutofit fontScale="77500" lnSpcReduction="20000"/>
          </a:bodyPr>
          <a:lstStyle/>
          <a:p>
            <a:pPr marL="228600" lvl="1" indent="0">
              <a:buNone/>
            </a:pPr>
            <a:r>
              <a:rPr lang="en-US" dirty="0"/>
              <a:t>JFK Files</a:t>
            </a:r>
          </a:p>
        </p:txBody>
      </p:sp>
      <p:grpSp>
        <p:nvGrpSpPr>
          <p:cNvPr id="4" name="Group 3">
            <a:extLst>
              <a:ext uri="{FF2B5EF4-FFF2-40B4-BE49-F238E27FC236}">
                <a16:creationId xmlns:a16="http://schemas.microsoft.com/office/drawing/2014/main" id="{FA6A0660-6D38-4EE1-B1C8-E2A85CAC1F45}"/>
              </a:ext>
            </a:extLst>
          </p:cNvPr>
          <p:cNvGrpSpPr/>
          <p:nvPr/>
        </p:nvGrpSpPr>
        <p:grpSpPr>
          <a:xfrm>
            <a:off x="5416429" y="1741714"/>
            <a:ext cx="5808962" cy="3386500"/>
            <a:chOff x="5726761" y="1849016"/>
            <a:chExt cx="5440846" cy="3171896"/>
          </a:xfrm>
        </p:grpSpPr>
        <p:sp>
          <p:nvSpPr>
            <p:cNvPr id="5" name="Rectangle: Rounded Corners 4">
              <a:extLst>
                <a:ext uri="{FF2B5EF4-FFF2-40B4-BE49-F238E27FC236}">
                  <a16:creationId xmlns:a16="http://schemas.microsoft.com/office/drawing/2014/main" id="{947B43D3-5F71-4F7D-B836-B10652831A72}"/>
                </a:ext>
              </a:extLst>
            </p:cNvPr>
            <p:cNvSpPr/>
            <p:nvPr/>
          </p:nvSpPr>
          <p:spPr bwMode="auto">
            <a:xfrm>
              <a:off x="5726761" y="1849016"/>
              <a:ext cx="5440846" cy="3171896"/>
            </a:xfrm>
            <a:prstGeom prst="roundRect">
              <a:avLst>
                <a:gd name="adj" fmla="val 3491"/>
              </a:avLst>
            </a:prstGeom>
            <a:solidFill>
              <a:schemeClr val="bg1"/>
            </a:soli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hlinkClick r:id="rId2"/>
              <a:extLst>
                <a:ext uri="{FF2B5EF4-FFF2-40B4-BE49-F238E27FC236}">
                  <a16:creationId xmlns:a16="http://schemas.microsoft.com/office/drawing/2014/main" id="{AF6E6D93-2044-4FFD-AB96-E1A90DC594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697" y="2047890"/>
              <a:ext cx="5038974" cy="2774145"/>
            </a:xfrm>
            <a:prstGeom prst="rect">
              <a:avLst/>
            </a:prstGeom>
            <a:effectLst/>
          </p:spPr>
        </p:pic>
      </p:grpSp>
      <p:sp>
        <p:nvSpPr>
          <p:cNvPr id="2" name="Rectangle 1">
            <a:extLst>
              <a:ext uri="{FF2B5EF4-FFF2-40B4-BE49-F238E27FC236}">
                <a16:creationId xmlns:a16="http://schemas.microsoft.com/office/drawing/2014/main" id="{EBDCAB23-E289-4FF1-B751-027C51A8A9E1}"/>
              </a:ext>
            </a:extLst>
          </p:cNvPr>
          <p:cNvSpPr/>
          <p:nvPr/>
        </p:nvSpPr>
        <p:spPr>
          <a:xfrm>
            <a:off x="585216" y="5699435"/>
            <a:ext cx="3923318" cy="369332"/>
          </a:xfrm>
          <a:prstGeom prst="rect">
            <a:avLst/>
          </a:prstGeom>
        </p:spPr>
        <p:txBody>
          <a:bodyPr wrap="none">
            <a:spAutoFit/>
          </a:bodyPr>
          <a:lstStyle/>
          <a:p>
            <a:r>
              <a:rPr lang="en-US" dirty="0">
                <a:hlinkClick r:id="rId4"/>
              </a:rPr>
              <a:t>https://jfk-demo.azurewebsites.net/</a:t>
            </a:r>
            <a:r>
              <a:rPr lang="en-US" dirty="0"/>
              <a:t>  </a:t>
            </a:r>
          </a:p>
        </p:txBody>
      </p:sp>
    </p:spTree>
    <p:extLst>
      <p:ext uri="{BB962C8B-B14F-4D97-AF65-F5344CB8AC3E}">
        <p14:creationId xmlns:p14="http://schemas.microsoft.com/office/powerpoint/2010/main" val="3644313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50"/>
                                        <p:tgtEl>
                                          <p:spTgt spid="4"/>
                                        </p:tgtEl>
                                      </p:cBhvr>
                                    </p:animEffect>
                                  </p:childTnLst>
                                </p:cTn>
                              </p:par>
                              <p:par>
                                <p:cTn id="8" presetID="63" presetClass="path" presetSubtype="0" decel="100000" fill="hold" nodeType="withEffect">
                                  <p:stCondLst>
                                    <p:cond delay="0"/>
                                  </p:stCondLst>
                                  <p:childTnLst>
                                    <p:animMotion origin="layout" path="M -1.875E-6 -4.44444E-6 L -0.00052 0.07107 " pathEditMode="relative" rAng="0" ptsTypes="AA">
                                      <p:cBhvr>
                                        <p:cTn id="9" dur="500" spd="-100000" fill="hold"/>
                                        <p:tgtEl>
                                          <p:spTgt spid="4"/>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Cognitive Services API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0515600" cy="6248367"/>
          </a:xfrm>
        </p:spPr>
        <p:txBody>
          <a:bodyPr>
            <a:normAutofit lnSpcReduction="10000"/>
          </a:bodyPr>
          <a:lstStyle/>
          <a:p>
            <a:r>
              <a:rPr lang="en-US" dirty="0"/>
              <a:t>Image recognition</a:t>
            </a:r>
          </a:p>
          <a:p>
            <a:pPr lvl="1"/>
            <a:r>
              <a:rPr lang="en-US" dirty="0"/>
              <a:t>Go to:  </a:t>
            </a:r>
            <a:r>
              <a:rPr lang="en-US" dirty="0">
                <a:hlinkClick r:id="rId2"/>
              </a:rPr>
              <a:t>https://www.customvision.ai/</a:t>
            </a:r>
            <a:r>
              <a:rPr lang="en-US" dirty="0"/>
              <a:t> </a:t>
            </a:r>
          </a:p>
          <a:p>
            <a:pPr lvl="1"/>
            <a:r>
              <a:rPr lang="en-US" dirty="0"/>
              <a:t>Sign in</a:t>
            </a:r>
          </a:p>
          <a:p>
            <a:pPr lvl="1"/>
            <a:r>
              <a:rPr lang="en-US" dirty="0"/>
              <a:t>Choose an image classification task</a:t>
            </a:r>
          </a:p>
          <a:p>
            <a:pPr lvl="1"/>
            <a:r>
              <a:rPr lang="en-US" dirty="0"/>
              <a:t>Create new projec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Upload/tag images (5 images / tag)</a:t>
            </a:r>
          </a:p>
          <a:p>
            <a:pPr lvl="1"/>
            <a:r>
              <a:rPr lang="en-US" dirty="0"/>
              <a:t>Keep one extra image of each class to test</a:t>
            </a:r>
          </a:p>
          <a:p>
            <a:pPr lvl="1"/>
            <a:r>
              <a:rPr lang="en-US" dirty="0"/>
              <a:t>Train</a:t>
            </a:r>
          </a:p>
          <a:p>
            <a:pPr lvl="1"/>
            <a:r>
              <a:rPr lang="en-US" dirty="0"/>
              <a:t>Predictions / Quick Test</a:t>
            </a:r>
          </a:p>
        </p:txBody>
      </p:sp>
      <p:pic>
        <p:nvPicPr>
          <p:cNvPr id="4" name="Picture 3">
            <a:extLst>
              <a:ext uri="{FF2B5EF4-FFF2-40B4-BE49-F238E27FC236}">
                <a16:creationId xmlns:a16="http://schemas.microsoft.com/office/drawing/2014/main" id="{325C8E5D-D394-4B0F-A8E6-6B8AFBABA979}"/>
              </a:ext>
            </a:extLst>
          </p:cNvPr>
          <p:cNvPicPr>
            <a:picLocks noChangeAspect="1"/>
          </p:cNvPicPr>
          <p:nvPr/>
        </p:nvPicPr>
        <p:blipFill>
          <a:blip r:embed="rId3"/>
          <a:stretch>
            <a:fillRect/>
          </a:stretch>
        </p:blipFill>
        <p:spPr>
          <a:xfrm>
            <a:off x="6858000" y="1724190"/>
            <a:ext cx="5334000" cy="3429000"/>
          </a:xfrm>
          <a:prstGeom prst="rect">
            <a:avLst/>
          </a:prstGeom>
        </p:spPr>
      </p:pic>
      <p:sp>
        <p:nvSpPr>
          <p:cNvPr id="5" name="TextBox 4">
            <a:extLst>
              <a:ext uri="{FF2B5EF4-FFF2-40B4-BE49-F238E27FC236}">
                <a16:creationId xmlns:a16="http://schemas.microsoft.com/office/drawing/2014/main" id="{559483E9-589E-4CCD-8C99-1C67BAF11CE1}"/>
              </a:ext>
            </a:extLst>
          </p:cNvPr>
          <p:cNvSpPr txBox="1"/>
          <p:nvPr/>
        </p:nvSpPr>
        <p:spPr>
          <a:xfrm>
            <a:off x="8669423" y="1300300"/>
            <a:ext cx="2722477" cy="369332"/>
          </a:xfrm>
          <a:prstGeom prst="rect">
            <a:avLst/>
          </a:prstGeom>
          <a:noFill/>
        </p:spPr>
        <p:txBody>
          <a:bodyPr wrap="none" rtlCol="0">
            <a:spAutoFit/>
          </a:bodyPr>
          <a:lstStyle/>
          <a:p>
            <a:r>
              <a:rPr lang="en-US" dirty="0"/>
              <a:t>Transfer learning for DNNs:</a:t>
            </a:r>
          </a:p>
        </p:txBody>
      </p:sp>
      <p:pic>
        <p:nvPicPr>
          <p:cNvPr id="6" name="Picture 5">
            <a:extLst>
              <a:ext uri="{FF2B5EF4-FFF2-40B4-BE49-F238E27FC236}">
                <a16:creationId xmlns:a16="http://schemas.microsoft.com/office/drawing/2014/main" id="{ABDA4290-E1A0-4EE9-B35A-436FCC3795DF}"/>
              </a:ext>
            </a:extLst>
          </p:cNvPr>
          <p:cNvPicPr>
            <a:picLocks noChangeAspect="1"/>
          </p:cNvPicPr>
          <p:nvPr/>
        </p:nvPicPr>
        <p:blipFill>
          <a:blip r:embed="rId4"/>
          <a:stretch>
            <a:fillRect/>
          </a:stretch>
        </p:blipFill>
        <p:spPr>
          <a:xfrm>
            <a:off x="1236271" y="2381684"/>
            <a:ext cx="1934424" cy="2761816"/>
          </a:xfrm>
          <a:prstGeom prst="rect">
            <a:avLst/>
          </a:prstGeom>
        </p:spPr>
      </p:pic>
    </p:spTree>
    <p:extLst>
      <p:ext uri="{BB962C8B-B14F-4D97-AF65-F5344CB8AC3E}">
        <p14:creationId xmlns:p14="http://schemas.microsoft.com/office/powerpoint/2010/main" val="36789764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Cognitive Services API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1803250" cy="6248367"/>
          </a:xfrm>
        </p:spPr>
        <p:txBody>
          <a:bodyPr>
            <a:normAutofit/>
          </a:bodyPr>
          <a:lstStyle/>
          <a:p>
            <a:r>
              <a:rPr lang="en-US" dirty="0"/>
              <a:t>Read handwritten text from images</a:t>
            </a:r>
          </a:p>
          <a:p>
            <a:pPr lvl="1"/>
            <a:r>
              <a:rPr lang="en-US" dirty="0"/>
              <a:t>Write a message on a piece of paper or the white board</a:t>
            </a:r>
          </a:p>
          <a:p>
            <a:pPr lvl="1"/>
            <a:r>
              <a:rPr lang="en-US" dirty="0"/>
              <a:t>Go to:  </a:t>
            </a:r>
            <a:r>
              <a:rPr lang="en-US" dirty="0">
                <a:hlinkClick r:id="rId2"/>
              </a:rPr>
              <a:t>https://azure.microsoft.com/en-us/services/cognitive-services/computer-vision/</a:t>
            </a:r>
            <a:r>
              <a:rPr lang="en-US" dirty="0"/>
              <a:t>  </a:t>
            </a:r>
          </a:p>
          <a:p>
            <a:pPr lvl="1"/>
            <a:r>
              <a:rPr lang="en-US" dirty="0"/>
              <a:t>Scroll down to Preview: Read handwritten text from images</a:t>
            </a:r>
          </a:p>
          <a:p>
            <a:pPr lvl="1"/>
            <a:r>
              <a:rPr lang="en-US" dirty="0"/>
              <a:t>Submit your picture</a:t>
            </a:r>
          </a:p>
          <a:p>
            <a:pPr lvl="1"/>
            <a:endParaRPr lang="en-US" dirty="0"/>
          </a:p>
        </p:txBody>
      </p:sp>
    </p:spTree>
    <p:extLst>
      <p:ext uri="{BB962C8B-B14F-4D97-AF65-F5344CB8AC3E}">
        <p14:creationId xmlns:p14="http://schemas.microsoft.com/office/powerpoint/2010/main" val="16389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Cognitive Services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794084"/>
            <a:ext cx="11803250" cy="6048103"/>
          </a:xfrm>
        </p:spPr>
        <p:txBody>
          <a:bodyPr>
            <a:normAutofit/>
          </a:bodyPr>
          <a:lstStyle/>
          <a:p>
            <a:r>
              <a:rPr lang="en-US" dirty="0"/>
              <a:t>Can I run a Custom Vision service model on my phone?</a:t>
            </a:r>
          </a:p>
          <a:p>
            <a:r>
              <a:rPr lang="en-US" dirty="0"/>
              <a:t>When would I not use Custom Vision? If I can’t use Custom Vision, what can I use in Azure, instead?</a:t>
            </a:r>
          </a:p>
          <a:p>
            <a:r>
              <a:rPr lang="en-US" dirty="0"/>
              <a:t>Can you set up a call to one of the Cognitive Service </a:t>
            </a:r>
            <a:r>
              <a:rPr lang="en-US" dirty="0" err="1"/>
              <a:t>ReST</a:t>
            </a:r>
            <a:r>
              <a:rPr lang="en-US" dirty="0"/>
              <a:t> API from your </a:t>
            </a:r>
            <a:r>
              <a:rPr lang="en-US" dirty="0" err="1"/>
              <a:t>iPython</a:t>
            </a:r>
            <a:r>
              <a:rPr lang="en-US" dirty="0"/>
              <a:t> notebook?</a:t>
            </a:r>
          </a:p>
        </p:txBody>
      </p:sp>
    </p:spTree>
    <p:extLst>
      <p:ext uri="{BB962C8B-B14F-4D97-AF65-F5344CB8AC3E}">
        <p14:creationId xmlns:p14="http://schemas.microsoft.com/office/powerpoint/2010/main" val="37096004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Azure Machine Learning Studio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1965982" cy="6248367"/>
          </a:xfrm>
        </p:spPr>
        <p:txBody>
          <a:bodyPr>
            <a:normAutofit fontScale="92500" lnSpcReduction="10000"/>
          </a:bodyPr>
          <a:lstStyle/>
          <a:p>
            <a:r>
              <a:rPr lang="en-US" dirty="0"/>
              <a:t>Build a binary classification model</a:t>
            </a:r>
          </a:p>
          <a:p>
            <a:pPr lvl="1"/>
            <a:r>
              <a:rPr lang="en-US" dirty="0"/>
              <a:t>Portal&gt;new&gt;Azure Machine Learning Studio Workspace&gt;create workspace</a:t>
            </a:r>
          </a:p>
          <a:p>
            <a:pPr lvl="1"/>
            <a:r>
              <a:rPr lang="en-US" dirty="0"/>
              <a:t>Inside of workspace&gt;Launch Machine Learning Studio&gt;sign in</a:t>
            </a:r>
          </a:p>
          <a:p>
            <a:pPr lvl="1"/>
            <a:r>
              <a:rPr lang="en-US" dirty="0"/>
              <a:t>Tour left side</a:t>
            </a:r>
          </a:p>
          <a:p>
            <a:pPr lvl="1"/>
            <a:r>
              <a:rPr lang="en-US" dirty="0"/>
              <a:t>Experiment&gt;new&gt;blank experiment</a:t>
            </a:r>
          </a:p>
          <a:p>
            <a:pPr lvl="1"/>
            <a:r>
              <a:rPr lang="en-US" dirty="0"/>
              <a:t>Tour left side</a:t>
            </a:r>
          </a:p>
          <a:p>
            <a:pPr lvl="1"/>
            <a:r>
              <a:rPr lang="en-US" dirty="0"/>
              <a:t>We’ll do this one together</a:t>
            </a:r>
          </a:p>
          <a:p>
            <a:pPr lvl="2"/>
            <a:r>
              <a:rPr lang="en-US" dirty="0"/>
              <a:t>Saved Datasets&gt;Samples&gt;Adult Census Income Binary Classification</a:t>
            </a:r>
          </a:p>
          <a:p>
            <a:pPr lvl="2"/>
            <a:r>
              <a:rPr lang="en-US" dirty="0"/>
              <a:t>Right-click&gt;Dataset&gt;Visualize</a:t>
            </a:r>
          </a:p>
          <a:p>
            <a:pPr lvl="2"/>
            <a:r>
              <a:rPr lang="en-US" dirty="0"/>
              <a:t>Search&gt;split&gt;Split Data</a:t>
            </a:r>
          </a:p>
          <a:p>
            <a:pPr lvl="2"/>
            <a:r>
              <a:rPr lang="en-US" dirty="0"/>
              <a:t>Search&gt;boosted&gt;Two-Class Boosted Decision Tree Model</a:t>
            </a:r>
          </a:p>
          <a:p>
            <a:pPr lvl="2"/>
            <a:r>
              <a:rPr lang="en-US" dirty="0"/>
              <a:t>Search&gt;train&gt;Train Model</a:t>
            </a:r>
          </a:p>
          <a:p>
            <a:pPr lvl="2"/>
            <a:r>
              <a:rPr lang="en-US" dirty="0"/>
              <a:t>Search&gt;score&gt;Score Model</a:t>
            </a:r>
          </a:p>
          <a:p>
            <a:pPr lvl="2"/>
            <a:r>
              <a:rPr lang="en-US" dirty="0"/>
              <a:t>Search&gt;evaluate&gt;Evaluate Model</a:t>
            </a:r>
          </a:p>
          <a:p>
            <a:pPr lvl="2"/>
            <a:r>
              <a:rPr lang="en-US" dirty="0"/>
              <a:t>Save/Run</a:t>
            </a:r>
          </a:p>
          <a:p>
            <a:pPr lvl="2"/>
            <a:r>
              <a:rPr lang="en-US" dirty="0"/>
              <a:t>Setup Web Service&gt;Predictive Service</a:t>
            </a:r>
          </a:p>
          <a:p>
            <a:pPr lvl="2"/>
            <a:r>
              <a:rPr lang="en-US" dirty="0"/>
              <a:t>Run</a:t>
            </a:r>
          </a:p>
          <a:p>
            <a:pPr lvl="2"/>
            <a:r>
              <a:rPr lang="en-US" dirty="0"/>
              <a:t>Deploy Web Service Classic&gt;Test Request/Response</a:t>
            </a:r>
          </a:p>
          <a:p>
            <a:pPr lvl="3"/>
            <a:r>
              <a:rPr lang="en-US" dirty="0"/>
              <a:t>50, Private, 200000, Bachelors, 16, Married-civ-spouse, Prof-specialty, Husband, White, Male, 0, 0, 40 United States</a:t>
            </a:r>
          </a:p>
          <a:p>
            <a:pPr lvl="3"/>
            <a:r>
              <a:rPr lang="en-US" dirty="0"/>
              <a:t>Result: … , "&gt;50K","0.634786188602448"</a:t>
            </a:r>
          </a:p>
          <a:p>
            <a:pPr lvl="1"/>
            <a:endParaRPr lang="en-US" dirty="0"/>
          </a:p>
        </p:txBody>
      </p:sp>
    </p:spTree>
    <p:extLst>
      <p:ext uri="{BB962C8B-B14F-4D97-AF65-F5344CB8AC3E}">
        <p14:creationId xmlns:p14="http://schemas.microsoft.com/office/powerpoint/2010/main" val="59932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C7ADF-5687-4666-B10A-6E1C8CA4C81E}"/>
              </a:ext>
            </a:extLst>
          </p:cNvPr>
          <p:cNvSpPr>
            <a:spLocks noGrp="1"/>
          </p:cNvSpPr>
          <p:nvPr>
            <p:ph type="title"/>
          </p:nvPr>
        </p:nvSpPr>
        <p:spPr>
          <a:xfrm>
            <a:off x="81049" y="-94632"/>
            <a:ext cx="10515600" cy="691318"/>
          </a:xfrm>
        </p:spPr>
        <p:txBody>
          <a:bodyPr>
            <a:normAutofit/>
          </a:bodyPr>
          <a:lstStyle/>
          <a:p>
            <a:r>
              <a:rPr lang="en-US" sz="3600" dirty="0"/>
              <a:t>Data science is a team sport</a:t>
            </a:r>
          </a:p>
        </p:txBody>
      </p:sp>
      <p:pic>
        <p:nvPicPr>
          <p:cNvPr id="4" name="Picture 3" descr="A close up of a device&#10;&#10;Description automatically generated">
            <a:extLst>
              <a:ext uri="{FF2B5EF4-FFF2-40B4-BE49-F238E27FC236}">
                <a16:creationId xmlns:a16="http://schemas.microsoft.com/office/drawing/2014/main" id="{86604E39-0687-4A7F-8906-CFFBC97451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525086"/>
            <a:ext cx="5808164" cy="4332914"/>
          </a:xfrm>
          <a:prstGeom prst="rect">
            <a:avLst/>
          </a:prstGeom>
        </p:spPr>
      </p:pic>
      <p:pic>
        <p:nvPicPr>
          <p:cNvPr id="5" name="Picture 4">
            <a:extLst>
              <a:ext uri="{FF2B5EF4-FFF2-40B4-BE49-F238E27FC236}">
                <a16:creationId xmlns:a16="http://schemas.microsoft.com/office/drawing/2014/main" id="{BBDA3E88-B559-43EE-93E6-899521054BEC}"/>
              </a:ext>
            </a:extLst>
          </p:cNvPr>
          <p:cNvPicPr>
            <a:picLocks noChangeAspect="1"/>
          </p:cNvPicPr>
          <p:nvPr/>
        </p:nvPicPr>
        <p:blipFill>
          <a:blip r:embed="rId4"/>
          <a:stretch>
            <a:fillRect/>
          </a:stretch>
        </p:blipFill>
        <p:spPr>
          <a:xfrm>
            <a:off x="5877412" y="908958"/>
            <a:ext cx="6314588" cy="3638288"/>
          </a:xfrm>
          <a:prstGeom prst="rect">
            <a:avLst/>
          </a:prstGeom>
        </p:spPr>
      </p:pic>
      <p:pic>
        <p:nvPicPr>
          <p:cNvPr id="6" name="Picture 5">
            <a:extLst>
              <a:ext uri="{FF2B5EF4-FFF2-40B4-BE49-F238E27FC236}">
                <a16:creationId xmlns:a16="http://schemas.microsoft.com/office/drawing/2014/main" id="{A6C81A66-0F53-4DF5-AE54-7D7DA999C17E}"/>
              </a:ext>
            </a:extLst>
          </p:cNvPr>
          <p:cNvPicPr>
            <a:picLocks noChangeAspect="1"/>
          </p:cNvPicPr>
          <p:nvPr/>
        </p:nvPicPr>
        <p:blipFill>
          <a:blip r:embed="rId5"/>
          <a:stretch>
            <a:fillRect/>
          </a:stretch>
        </p:blipFill>
        <p:spPr>
          <a:xfrm>
            <a:off x="6811860" y="4620804"/>
            <a:ext cx="5380139" cy="2237196"/>
          </a:xfrm>
          <a:prstGeom prst="rect">
            <a:avLst/>
          </a:prstGeom>
        </p:spPr>
      </p:pic>
      <p:sp>
        <p:nvSpPr>
          <p:cNvPr id="7" name="TextBox 6">
            <a:extLst>
              <a:ext uri="{FF2B5EF4-FFF2-40B4-BE49-F238E27FC236}">
                <a16:creationId xmlns:a16="http://schemas.microsoft.com/office/drawing/2014/main" id="{7E8C2151-66A9-4C55-98B8-CF41188B3DA8}"/>
              </a:ext>
            </a:extLst>
          </p:cNvPr>
          <p:cNvSpPr txBox="1"/>
          <p:nvPr/>
        </p:nvSpPr>
        <p:spPr>
          <a:xfrm>
            <a:off x="0" y="1646730"/>
            <a:ext cx="289002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6"/>
              </a:rPr>
              <a:t>http://aka.ms/tdsp</a:t>
            </a:r>
            <a:r>
              <a:rPr lang="en-US" sz="2400" dirty="0">
                <a:gradFill>
                  <a:gsLst>
                    <a:gs pos="2917">
                      <a:schemeClr val="tx1"/>
                    </a:gs>
                    <a:gs pos="30000">
                      <a:schemeClr val="tx1"/>
                    </a:gs>
                  </a:gsLst>
                  <a:lin ang="5400000" scaled="0"/>
                </a:gradFill>
              </a:rPr>
              <a:t> </a:t>
            </a:r>
          </a:p>
        </p:txBody>
      </p:sp>
      <p:sp>
        <p:nvSpPr>
          <p:cNvPr id="8" name="TextBox 7">
            <a:extLst>
              <a:ext uri="{FF2B5EF4-FFF2-40B4-BE49-F238E27FC236}">
                <a16:creationId xmlns:a16="http://schemas.microsoft.com/office/drawing/2014/main" id="{EFBF41AE-2EB8-415B-940C-5CC841CB4D34}"/>
              </a:ext>
            </a:extLst>
          </p:cNvPr>
          <p:cNvSpPr txBox="1"/>
          <p:nvPr/>
        </p:nvSpPr>
        <p:spPr>
          <a:xfrm>
            <a:off x="0" y="336494"/>
            <a:ext cx="4232954"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Microsoft Team Data Science Process</a:t>
            </a:r>
          </a:p>
        </p:txBody>
      </p:sp>
    </p:spTree>
    <p:extLst>
      <p:ext uri="{BB962C8B-B14F-4D97-AF65-F5344CB8AC3E}">
        <p14:creationId xmlns:p14="http://schemas.microsoft.com/office/powerpoint/2010/main" val="35777983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solidFill>
                  <a:schemeClr val="tx1"/>
                </a:solidFill>
              </a:rPr>
              <a:t>AI DevOps lifecycle</a:t>
            </a:r>
          </a:p>
        </p:txBody>
      </p:sp>
      <p:sp>
        <p:nvSpPr>
          <p:cNvPr id="140" name="TextBox 8">
            <a:extLst>
              <a:ext uri="{FF2B5EF4-FFF2-40B4-BE49-F238E27FC236}">
                <a16:creationId xmlns:a16="http://schemas.microsoft.com/office/drawing/2014/main" id="{C9C72490-9715-440A-963C-BD1E0CD77FCA}"/>
              </a:ext>
            </a:extLst>
          </p:cNvPr>
          <p:cNvSpPr txBox="1"/>
          <p:nvPr/>
        </p:nvSpPr>
        <p:spPr>
          <a:xfrm>
            <a:off x="778073" y="4856206"/>
            <a:ext cx="3130428" cy="1253420"/>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Experiment</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Data Acquisition </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Business Understanding</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Initial Modeling</a:t>
            </a:r>
          </a:p>
        </p:txBody>
      </p:sp>
      <p:sp>
        <p:nvSpPr>
          <p:cNvPr id="141" name="TextBox 8">
            <a:extLst>
              <a:ext uri="{FF2B5EF4-FFF2-40B4-BE49-F238E27FC236}">
                <a16:creationId xmlns:a16="http://schemas.microsoft.com/office/drawing/2014/main" id="{EC787D24-B4BA-426A-AED2-3452B1B39754}"/>
              </a:ext>
            </a:extLst>
          </p:cNvPr>
          <p:cNvSpPr txBox="1"/>
          <p:nvPr/>
        </p:nvSpPr>
        <p:spPr>
          <a:xfrm>
            <a:off x="4897463" y="4856206"/>
            <a:ext cx="3130428" cy="699422"/>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Develop</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1A1A1A"/>
                </a:solidFill>
                <a:effectLst/>
                <a:uLnTx/>
                <a:uFillTx/>
                <a:latin typeface="Segoe UI Light"/>
                <a:ea typeface="+mn-ea"/>
                <a:cs typeface="Segoe UI Semibold" panose="020B0702040204020203" pitchFamily="34" charset="0"/>
              </a:rPr>
              <a:t>Modeling</a:t>
            </a:r>
            <a:endPar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endParaRPr>
          </a:p>
        </p:txBody>
      </p:sp>
      <p:sp>
        <p:nvSpPr>
          <p:cNvPr id="142" name="TextBox 44">
            <a:extLst>
              <a:ext uri="{FF2B5EF4-FFF2-40B4-BE49-F238E27FC236}">
                <a16:creationId xmlns:a16="http://schemas.microsoft.com/office/drawing/2014/main" id="{89B7706A-696C-4DD4-BC16-63897AC86E47}"/>
              </a:ext>
            </a:extLst>
          </p:cNvPr>
          <p:cNvSpPr txBox="1"/>
          <p:nvPr/>
        </p:nvSpPr>
        <p:spPr>
          <a:xfrm>
            <a:off x="8361105" y="4858527"/>
            <a:ext cx="3129224" cy="1675843"/>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de-DE"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Operate</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Delivery</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Data Feedback Loop</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System + Model Monitoring</a:t>
            </a:r>
          </a:p>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2745" b="0"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endParaRPr>
          </a:p>
        </p:txBody>
      </p:sp>
      <p:sp>
        <p:nvSpPr>
          <p:cNvPr id="143" name="Freeform 28">
            <a:extLst>
              <a:ext uri="{FF2B5EF4-FFF2-40B4-BE49-F238E27FC236}">
                <a16:creationId xmlns:a16="http://schemas.microsoft.com/office/drawing/2014/main" id="{23EE7238-0B6D-475B-B96D-046C04D12A42}"/>
              </a:ext>
            </a:extLst>
          </p:cNvPr>
          <p:cNvSpPr>
            <a:spLocks/>
          </p:cNvSpPr>
          <p:nvPr>
            <p:custDataLst>
              <p:tags r:id="rId1"/>
            </p:custDataLst>
          </p:nvPr>
        </p:nvSpPr>
        <p:spPr bwMode="gray">
          <a:xfrm rot="2781258">
            <a:off x="2804848" y="2147510"/>
            <a:ext cx="1824326" cy="1855063"/>
          </a:xfrm>
          <a:custGeom>
            <a:avLst/>
            <a:gdLst>
              <a:gd name="T0" fmla="*/ 853546768 w 425"/>
              <a:gd name="T1" fmla="*/ 2147483647 h 425"/>
              <a:gd name="T2" fmla="*/ 362757401 w 425"/>
              <a:gd name="T3" fmla="*/ 718866784 h 425"/>
              <a:gd name="T4" fmla="*/ 2147483647 w 425"/>
              <a:gd name="T5" fmla="*/ 308085710 h 425"/>
              <a:gd name="T6" fmla="*/ 2147483647 w 425"/>
              <a:gd name="T7" fmla="*/ 1842473085 h 425"/>
              <a:gd name="T8" fmla="*/ 853546768 w 425"/>
              <a:gd name="T9" fmla="*/ 2147483647 h 425"/>
              <a:gd name="T10" fmla="*/ 0 60000 65536"/>
              <a:gd name="T11" fmla="*/ 0 60000 65536"/>
              <a:gd name="T12" fmla="*/ 0 60000 65536"/>
              <a:gd name="T13" fmla="*/ 0 60000 65536"/>
              <a:gd name="T14" fmla="*/ 0 60000 65536"/>
              <a:gd name="T15" fmla="*/ 0 w 425"/>
              <a:gd name="T16" fmla="*/ 0 h 425"/>
              <a:gd name="T17" fmla="*/ 425 w 425"/>
              <a:gd name="T18" fmla="*/ 425 h 425"/>
            </a:gdLst>
            <a:ahLst/>
            <a:cxnLst>
              <a:cxn ang="T10">
                <a:pos x="T0" y="T1"/>
              </a:cxn>
              <a:cxn ang="T11">
                <a:pos x="T2" y="T3"/>
              </a:cxn>
              <a:cxn ang="T12">
                <a:pos x="T4" y="T5"/>
              </a:cxn>
              <a:cxn ang="T13">
                <a:pos x="T6" y="T7"/>
              </a:cxn>
              <a:cxn ang="T14">
                <a:pos x="T8" y="T9"/>
              </a:cxn>
            </a:cxnLst>
            <a:rect l="T15" t="T16" r="T17" b="T18"/>
            <a:pathLst>
              <a:path w="425" h="425">
                <a:moveTo>
                  <a:pt x="120" y="373"/>
                </a:moveTo>
                <a:cubicBezTo>
                  <a:pt x="31" y="322"/>
                  <a:pt x="0" y="208"/>
                  <a:pt x="51" y="119"/>
                </a:cubicBezTo>
                <a:cubicBezTo>
                  <a:pt x="103" y="30"/>
                  <a:pt x="217" y="0"/>
                  <a:pt x="306" y="51"/>
                </a:cubicBezTo>
                <a:cubicBezTo>
                  <a:pt x="394" y="103"/>
                  <a:pt x="425" y="216"/>
                  <a:pt x="374" y="305"/>
                </a:cubicBezTo>
                <a:cubicBezTo>
                  <a:pt x="322" y="394"/>
                  <a:pt x="208" y="425"/>
                  <a:pt x="120" y="373"/>
                </a:cubicBezTo>
                <a:close/>
              </a:path>
            </a:pathLst>
          </a:custGeom>
          <a:noFill/>
          <a:ln w="317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39">
            <a:extLst>
              <a:ext uri="{FF2B5EF4-FFF2-40B4-BE49-F238E27FC236}">
                <a16:creationId xmlns:a16="http://schemas.microsoft.com/office/drawing/2014/main" id="{D68604F8-4686-4EF9-B60D-63E8F06A2124}"/>
              </a:ext>
            </a:extLst>
          </p:cNvPr>
          <p:cNvSpPr>
            <a:spLocks noEditPoints="1"/>
          </p:cNvSpPr>
          <p:nvPr/>
        </p:nvSpPr>
        <p:spPr bwMode="auto">
          <a:xfrm rot="326988" flipH="1">
            <a:off x="6654368" y="2295014"/>
            <a:ext cx="161461" cy="275479"/>
          </a:xfrm>
          <a:custGeom>
            <a:avLst/>
            <a:gdLst>
              <a:gd name="T0" fmla="*/ 112 w 112"/>
              <a:gd name="T1" fmla="*/ 56 h 190"/>
              <a:gd name="T2" fmla="*/ 56 w 112"/>
              <a:gd name="T3" fmla="*/ 0 h 190"/>
              <a:gd name="T4" fmla="*/ 0 w 112"/>
              <a:gd name="T5" fmla="*/ 56 h 190"/>
              <a:gd name="T6" fmla="*/ 49 w 112"/>
              <a:gd name="T7" fmla="*/ 112 h 190"/>
              <a:gd name="T8" fmla="*/ 49 w 112"/>
              <a:gd name="T9" fmla="*/ 125 h 190"/>
              <a:gd name="T10" fmla="*/ 43 w 112"/>
              <a:gd name="T11" fmla="*/ 125 h 190"/>
              <a:gd name="T12" fmla="*/ 43 w 112"/>
              <a:gd name="T13" fmla="*/ 190 h 190"/>
              <a:gd name="T14" fmla="*/ 69 w 112"/>
              <a:gd name="T15" fmla="*/ 190 h 190"/>
              <a:gd name="T16" fmla="*/ 69 w 112"/>
              <a:gd name="T17" fmla="*/ 125 h 190"/>
              <a:gd name="T18" fmla="*/ 63 w 112"/>
              <a:gd name="T19" fmla="*/ 125 h 190"/>
              <a:gd name="T20" fmla="*/ 63 w 112"/>
              <a:gd name="T21" fmla="*/ 112 h 190"/>
              <a:gd name="T22" fmla="*/ 112 w 112"/>
              <a:gd name="T23" fmla="*/ 56 h 190"/>
              <a:gd name="T24" fmla="*/ 21 w 112"/>
              <a:gd name="T25" fmla="*/ 56 h 190"/>
              <a:gd name="T26" fmla="*/ 56 w 112"/>
              <a:gd name="T27" fmla="*/ 21 h 190"/>
              <a:gd name="T28" fmla="*/ 92 w 112"/>
              <a:gd name="T29" fmla="*/ 56 h 190"/>
              <a:gd name="T30" fmla="*/ 56 w 112"/>
              <a:gd name="T31" fmla="*/ 92 h 190"/>
              <a:gd name="T32" fmla="*/ 21 w 112"/>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90">
                <a:moveTo>
                  <a:pt x="112" y="56"/>
                </a:moveTo>
                <a:cubicBezTo>
                  <a:pt x="112" y="25"/>
                  <a:pt x="87" y="0"/>
                  <a:pt x="56" y="0"/>
                </a:cubicBezTo>
                <a:cubicBezTo>
                  <a:pt x="25" y="0"/>
                  <a:pt x="0" y="25"/>
                  <a:pt x="0" y="56"/>
                </a:cubicBezTo>
                <a:cubicBezTo>
                  <a:pt x="0" y="85"/>
                  <a:pt x="22" y="109"/>
                  <a:pt x="49" y="112"/>
                </a:cubicBezTo>
                <a:cubicBezTo>
                  <a:pt x="49" y="125"/>
                  <a:pt x="49" y="125"/>
                  <a:pt x="49" y="125"/>
                </a:cubicBezTo>
                <a:cubicBezTo>
                  <a:pt x="43" y="125"/>
                  <a:pt x="43" y="125"/>
                  <a:pt x="43" y="125"/>
                </a:cubicBezTo>
                <a:cubicBezTo>
                  <a:pt x="43" y="190"/>
                  <a:pt x="43" y="190"/>
                  <a:pt x="43" y="190"/>
                </a:cubicBezTo>
                <a:cubicBezTo>
                  <a:pt x="69" y="190"/>
                  <a:pt x="69" y="190"/>
                  <a:pt x="69" y="190"/>
                </a:cubicBezTo>
                <a:cubicBezTo>
                  <a:pt x="69" y="125"/>
                  <a:pt x="69" y="125"/>
                  <a:pt x="69" y="125"/>
                </a:cubicBezTo>
                <a:cubicBezTo>
                  <a:pt x="63" y="125"/>
                  <a:pt x="63" y="125"/>
                  <a:pt x="63" y="125"/>
                </a:cubicBezTo>
                <a:cubicBezTo>
                  <a:pt x="63" y="112"/>
                  <a:pt x="63" y="112"/>
                  <a:pt x="63" y="112"/>
                </a:cubicBezTo>
                <a:cubicBezTo>
                  <a:pt x="91" y="109"/>
                  <a:pt x="112" y="85"/>
                  <a:pt x="112" y="56"/>
                </a:cubicBezTo>
                <a:close/>
                <a:moveTo>
                  <a:pt x="21" y="56"/>
                </a:moveTo>
                <a:cubicBezTo>
                  <a:pt x="21" y="37"/>
                  <a:pt x="37" y="21"/>
                  <a:pt x="56" y="21"/>
                </a:cubicBezTo>
                <a:cubicBezTo>
                  <a:pt x="76" y="21"/>
                  <a:pt x="92" y="37"/>
                  <a:pt x="92" y="56"/>
                </a:cubicBezTo>
                <a:cubicBezTo>
                  <a:pt x="92" y="76"/>
                  <a:pt x="76" y="92"/>
                  <a:pt x="56" y="92"/>
                </a:cubicBezTo>
                <a:cubicBezTo>
                  <a:pt x="37" y="92"/>
                  <a:pt x="21" y="76"/>
                  <a:pt x="21" y="56"/>
                </a:cubicBezTo>
                <a:close/>
              </a:path>
            </a:pathLst>
          </a:custGeom>
          <a:solidFill>
            <a:schemeClr val="bg1"/>
          </a:solidFill>
          <a:ln>
            <a:noFill/>
          </a:ln>
          <a:extLst/>
        </p:spPr>
        <p:txBody>
          <a:bodyPr vert="horz" wrap="square" lIns="92531" tIns="46266" rIns="92531" bIns="4626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98"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9" name="TextBox 158">
            <a:extLst>
              <a:ext uri="{FF2B5EF4-FFF2-40B4-BE49-F238E27FC236}">
                <a16:creationId xmlns:a16="http://schemas.microsoft.com/office/drawing/2014/main" id="{17F476DC-4D12-4A19-AAEB-7D94278C9C18}"/>
              </a:ext>
            </a:extLst>
          </p:cNvPr>
          <p:cNvSpPr txBox="1"/>
          <p:nvPr/>
        </p:nvSpPr>
        <p:spPr>
          <a:xfrm rot="1890962" flipH="1" flipV="1">
            <a:off x="7399008" y="3086737"/>
            <a:ext cx="1257767" cy="387747"/>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endParaRPr kumimoji="0" lang="en-AU" sz="998" b="1" i="0" u="none" strike="noStrike" kern="1200" cap="none" spc="0" normalizeH="0" baseline="0" noProof="0">
              <a:ln>
                <a:noFill/>
              </a:ln>
              <a:solidFill>
                <a:srgbClr val="323232"/>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A0C3BDC5-FCE6-4DA2-A360-7016ACB1F581}"/>
              </a:ext>
            </a:extLst>
          </p:cNvPr>
          <p:cNvGrpSpPr/>
          <p:nvPr/>
        </p:nvGrpSpPr>
        <p:grpSpPr>
          <a:xfrm>
            <a:off x="2191805" y="1503404"/>
            <a:ext cx="3050411" cy="3078845"/>
            <a:chOff x="2197971" y="1559524"/>
            <a:chExt cx="3057324" cy="3029296"/>
          </a:xfrm>
        </p:grpSpPr>
        <p:sp>
          <p:nvSpPr>
            <p:cNvPr id="144" name="TextBox 143">
              <a:extLst>
                <a:ext uri="{FF2B5EF4-FFF2-40B4-BE49-F238E27FC236}">
                  <a16:creationId xmlns:a16="http://schemas.microsoft.com/office/drawing/2014/main" id="{61BE89B7-678C-4E9F-916B-C32F15AE78AA}"/>
                </a:ext>
              </a:extLst>
            </p:cNvPr>
            <p:cNvSpPr txBox="1"/>
            <p:nvPr/>
          </p:nvSpPr>
          <p:spPr>
            <a:xfrm rot="1890962">
              <a:off x="3251185" y="2675110"/>
              <a:ext cx="1257767" cy="387747"/>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endParaRPr kumimoji="0" lang="en-AU" sz="998" b="1" i="0" u="none" strike="noStrike" kern="1200" cap="none" spc="0" normalizeH="0" baseline="0" noProof="0">
                <a:ln>
                  <a:noFill/>
                </a:ln>
                <a:solidFill>
                  <a:srgbClr val="323232"/>
                </a:solidFill>
                <a:effectLst/>
                <a:uLnTx/>
                <a:uFillTx/>
                <a:latin typeface="Segoe UI"/>
                <a:ea typeface="+mn-ea"/>
                <a:cs typeface="+mn-cs"/>
              </a:endParaRPr>
            </a:p>
          </p:txBody>
        </p:sp>
        <p:sp>
          <p:nvSpPr>
            <p:cNvPr id="145" name="Freeform 30">
              <a:extLst>
                <a:ext uri="{FF2B5EF4-FFF2-40B4-BE49-F238E27FC236}">
                  <a16:creationId xmlns:a16="http://schemas.microsoft.com/office/drawing/2014/main" id="{955D5F7B-867B-4C58-9CF7-87BBBB624BD0}"/>
                </a:ext>
              </a:extLst>
            </p:cNvPr>
            <p:cNvSpPr>
              <a:spLocks/>
            </p:cNvSpPr>
            <p:nvPr>
              <p:custDataLst>
                <p:tags r:id="rId2"/>
              </p:custDataLst>
            </p:nvPr>
          </p:nvSpPr>
          <p:spPr bwMode="gray">
            <a:xfrm rot="2781258">
              <a:off x="3087303" y="1568502"/>
              <a:ext cx="1326082" cy="1308125"/>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8FB4DB"/>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srgbClr val="8FB4DB"/>
                </a:solidFill>
                <a:effectLst/>
                <a:uLnTx/>
                <a:uFillTx/>
                <a:latin typeface="Segoe UI"/>
                <a:ea typeface="+mn-ea"/>
                <a:cs typeface="+mn-cs"/>
              </a:endParaRPr>
            </a:p>
          </p:txBody>
        </p:sp>
        <p:sp>
          <p:nvSpPr>
            <p:cNvPr id="151" name="Freeform 39">
              <a:extLst>
                <a:ext uri="{FF2B5EF4-FFF2-40B4-BE49-F238E27FC236}">
                  <a16:creationId xmlns:a16="http://schemas.microsoft.com/office/drawing/2014/main" id="{1E296C15-F537-4FDF-BC2F-1AB7FB74077F}"/>
                </a:ext>
              </a:extLst>
            </p:cNvPr>
            <p:cNvSpPr>
              <a:spLocks noEditPoints="1"/>
            </p:cNvSpPr>
            <p:nvPr/>
          </p:nvSpPr>
          <p:spPr bwMode="auto">
            <a:xfrm rot="21273012">
              <a:off x="2927931" y="2321893"/>
              <a:ext cx="161463" cy="275480"/>
            </a:xfrm>
            <a:custGeom>
              <a:avLst/>
              <a:gdLst>
                <a:gd name="T0" fmla="*/ 112 w 112"/>
                <a:gd name="T1" fmla="*/ 56 h 190"/>
                <a:gd name="T2" fmla="*/ 56 w 112"/>
                <a:gd name="T3" fmla="*/ 0 h 190"/>
                <a:gd name="T4" fmla="*/ 0 w 112"/>
                <a:gd name="T5" fmla="*/ 56 h 190"/>
                <a:gd name="T6" fmla="*/ 49 w 112"/>
                <a:gd name="T7" fmla="*/ 112 h 190"/>
                <a:gd name="T8" fmla="*/ 49 w 112"/>
                <a:gd name="T9" fmla="*/ 125 h 190"/>
                <a:gd name="T10" fmla="*/ 43 w 112"/>
                <a:gd name="T11" fmla="*/ 125 h 190"/>
                <a:gd name="T12" fmla="*/ 43 w 112"/>
                <a:gd name="T13" fmla="*/ 190 h 190"/>
                <a:gd name="T14" fmla="*/ 69 w 112"/>
                <a:gd name="T15" fmla="*/ 190 h 190"/>
                <a:gd name="T16" fmla="*/ 69 w 112"/>
                <a:gd name="T17" fmla="*/ 125 h 190"/>
                <a:gd name="T18" fmla="*/ 63 w 112"/>
                <a:gd name="T19" fmla="*/ 125 h 190"/>
                <a:gd name="T20" fmla="*/ 63 w 112"/>
                <a:gd name="T21" fmla="*/ 112 h 190"/>
                <a:gd name="T22" fmla="*/ 112 w 112"/>
                <a:gd name="T23" fmla="*/ 56 h 190"/>
                <a:gd name="T24" fmla="*/ 21 w 112"/>
                <a:gd name="T25" fmla="*/ 56 h 190"/>
                <a:gd name="T26" fmla="*/ 56 w 112"/>
                <a:gd name="T27" fmla="*/ 21 h 190"/>
                <a:gd name="T28" fmla="*/ 92 w 112"/>
                <a:gd name="T29" fmla="*/ 56 h 190"/>
                <a:gd name="T30" fmla="*/ 56 w 112"/>
                <a:gd name="T31" fmla="*/ 92 h 190"/>
                <a:gd name="T32" fmla="*/ 21 w 112"/>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90">
                  <a:moveTo>
                    <a:pt x="112" y="56"/>
                  </a:moveTo>
                  <a:cubicBezTo>
                    <a:pt x="112" y="25"/>
                    <a:pt x="87" y="0"/>
                    <a:pt x="56" y="0"/>
                  </a:cubicBezTo>
                  <a:cubicBezTo>
                    <a:pt x="25" y="0"/>
                    <a:pt x="0" y="25"/>
                    <a:pt x="0" y="56"/>
                  </a:cubicBezTo>
                  <a:cubicBezTo>
                    <a:pt x="0" y="85"/>
                    <a:pt x="22" y="109"/>
                    <a:pt x="49" y="112"/>
                  </a:cubicBezTo>
                  <a:cubicBezTo>
                    <a:pt x="49" y="125"/>
                    <a:pt x="49" y="125"/>
                    <a:pt x="49" y="125"/>
                  </a:cubicBezTo>
                  <a:cubicBezTo>
                    <a:pt x="43" y="125"/>
                    <a:pt x="43" y="125"/>
                    <a:pt x="43" y="125"/>
                  </a:cubicBezTo>
                  <a:cubicBezTo>
                    <a:pt x="43" y="190"/>
                    <a:pt x="43" y="190"/>
                    <a:pt x="43" y="190"/>
                  </a:cubicBezTo>
                  <a:cubicBezTo>
                    <a:pt x="69" y="190"/>
                    <a:pt x="69" y="190"/>
                    <a:pt x="69" y="190"/>
                  </a:cubicBezTo>
                  <a:cubicBezTo>
                    <a:pt x="69" y="125"/>
                    <a:pt x="69" y="125"/>
                    <a:pt x="69" y="125"/>
                  </a:cubicBezTo>
                  <a:cubicBezTo>
                    <a:pt x="63" y="125"/>
                    <a:pt x="63" y="125"/>
                    <a:pt x="63" y="125"/>
                  </a:cubicBezTo>
                  <a:cubicBezTo>
                    <a:pt x="63" y="112"/>
                    <a:pt x="63" y="112"/>
                    <a:pt x="63" y="112"/>
                  </a:cubicBezTo>
                  <a:cubicBezTo>
                    <a:pt x="91" y="109"/>
                    <a:pt x="112" y="85"/>
                    <a:pt x="112" y="56"/>
                  </a:cubicBezTo>
                  <a:close/>
                  <a:moveTo>
                    <a:pt x="21" y="56"/>
                  </a:moveTo>
                  <a:cubicBezTo>
                    <a:pt x="21" y="37"/>
                    <a:pt x="37" y="21"/>
                    <a:pt x="56" y="21"/>
                  </a:cubicBezTo>
                  <a:cubicBezTo>
                    <a:pt x="76" y="21"/>
                    <a:pt x="92" y="37"/>
                    <a:pt x="92" y="56"/>
                  </a:cubicBezTo>
                  <a:cubicBezTo>
                    <a:pt x="92" y="76"/>
                    <a:pt x="76" y="92"/>
                    <a:pt x="56" y="92"/>
                  </a:cubicBezTo>
                  <a:cubicBezTo>
                    <a:pt x="37" y="92"/>
                    <a:pt x="21" y="76"/>
                    <a:pt x="21" y="56"/>
                  </a:cubicBezTo>
                  <a:close/>
                </a:path>
              </a:pathLst>
            </a:custGeom>
            <a:solidFill>
              <a:schemeClr val="bg1"/>
            </a:solidFill>
            <a:ln>
              <a:noFill/>
            </a:ln>
            <a:extLst/>
          </p:spPr>
          <p:txBody>
            <a:bodyPr vert="horz" wrap="square" lIns="92531" tIns="46266" rIns="92531" bIns="4626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98"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6" name="Freeform 29">
              <a:extLst>
                <a:ext uri="{FF2B5EF4-FFF2-40B4-BE49-F238E27FC236}">
                  <a16:creationId xmlns:a16="http://schemas.microsoft.com/office/drawing/2014/main" id="{5F4DB87A-F18A-47B9-9E4D-6BA83F729920}"/>
                </a:ext>
              </a:extLst>
            </p:cNvPr>
            <p:cNvSpPr>
              <a:spLocks/>
            </p:cNvSpPr>
            <p:nvPr>
              <p:custDataLst>
                <p:tags r:id="rId3"/>
              </p:custDataLst>
            </p:nvPr>
          </p:nvSpPr>
          <p:spPr bwMode="gray">
            <a:xfrm rot="13569486">
              <a:off x="3936339" y="2430327"/>
              <a:ext cx="1290313" cy="1347598"/>
            </a:xfrm>
            <a:custGeom>
              <a:avLst/>
              <a:gdLst>
                <a:gd name="T0" fmla="*/ 2121034554 w 301"/>
                <a:gd name="T1" fmla="*/ 1296596275 h 309"/>
                <a:gd name="T2" fmla="*/ 1362002072 w 301"/>
                <a:gd name="T3" fmla="*/ 1133767904 h 309"/>
                <a:gd name="T4" fmla="*/ 673907041 w 301"/>
                <a:gd name="T5" fmla="*/ 247259053 h 309"/>
                <a:gd name="T6" fmla="*/ 333405857 w 301"/>
                <a:gd name="T7" fmla="*/ 0 h 309"/>
                <a:gd name="T8" fmla="*/ 0 w 301"/>
                <a:gd name="T9" fmla="*/ 253287903 h 309"/>
                <a:gd name="T10" fmla="*/ 2064285259 w 301"/>
                <a:gd name="T11" fmla="*/ 1863480074 h 309"/>
                <a:gd name="T12" fmla="*/ 2135222544 w 301"/>
                <a:gd name="T13" fmla="*/ 1863480074 h 309"/>
                <a:gd name="T14" fmla="*/ 1830190086 w 301"/>
                <a:gd name="T15" fmla="*/ 1574006869 h 309"/>
                <a:gd name="T16" fmla="*/ 2121034554 w 301"/>
                <a:gd name="T17" fmla="*/ 1296596275 h 3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1"/>
                <a:gd name="T28" fmla="*/ 0 h 309"/>
                <a:gd name="T29" fmla="*/ 301 w 301"/>
                <a:gd name="T30" fmla="*/ 309 h 3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1" h="309">
                  <a:moveTo>
                    <a:pt x="299" y="215"/>
                  </a:moveTo>
                  <a:cubicBezTo>
                    <a:pt x="263" y="216"/>
                    <a:pt x="226" y="208"/>
                    <a:pt x="192" y="188"/>
                  </a:cubicBezTo>
                  <a:cubicBezTo>
                    <a:pt x="136" y="156"/>
                    <a:pt x="102" y="101"/>
                    <a:pt x="95" y="41"/>
                  </a:cubicBezTo>
                  <a:cubicBezTo>
                    <a:pt x="47" y="0"/>
                    <a:pt x="47" y="0"/>
                    <a:pt x="47" y="0"/>
                  </a:cubicBezTo>
                  <a:cubicBezTo>
                    <a:pt x="0" y="42"/>
                    <a:pt x="0" y="42"/>
                    <a:pt x="0" y="42"/>
                  </a:cubicBezTo>
                  <a:cubicBezTo>
                    <a:pt x="13" y="191"/>
                    <a:pt x="138" y="309"/>
                    <a:pt x="291" y="309"/>
                  </a:cubicBezTo>
                  <a:cubicBezTo>
                    <a:pt x="295" y="309"/>
                    <a:pt x="298" y="309"/>
                    <a:pt x="301" y="309"/>
                  </a:cubicBezTo>
                  <a:cubicBezTo>
                    <a:pt x="258" y="261"/>
                    <a:pt x="258" y="261"/>
                    <a:pt x="258" y="261"/>
                  </a:cubicBezTo>
                  <a:lnTo>
                    <a:pt x="299" y="215"/>
                  </a:lnTo>
                  <a:close/>
                </a:path>
              </a:pathLst>
            </a:custGeom>
            <a:solidFill>
              <a:srgbClr val="76A4D3"/>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30">
              <a:extLst>
                <a:ext uri="{FF2B5EF4-FFF2-40B4-BE49-F238E27FC236}">
                  <a16:creationId xmlns:a16="http://schemas.microsoft.com/office/drawing/2014/main" id="{9A95882B-666C-45AE-B0B3-5994B6C497FB}"/>
                </a:ext>
              </a:extLst>
            </p:cNvPr>
            <p:cNvSpPr>
              <a:spLocks/>
            </p:cNvSpPr>
            <p:nvPr>
              <p:custDataLst>
                <p:tags r:id="rId4"/>
              </p:custDataLst>
            </p:nvPr>
          </p:nvSpPr>
          <p:spPr bwMode="gray">
            <a:xfrm rot="18981258">
              <a:off x="2197971" y="2406783"/>
              <a:ext cx="1337167" cy="1297283"/>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3F7FC2"/>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30">
              <a:extLst>
                <a:ext uri="{FF2B5EF4-FFF2-40B4-BE49-F238E27FC236}">
                  <a16:creationId xmlns:a16="http://schemas.microsoft.com/office/drawing/2014/main" id="{8BEA7C38-4C48-44CB-8F5A-BD8B83CAC00A}"/>
                </a:ext>
              </a:extLst>
            </p:cNvPr>
            <p:cNvSpPr>
              <a:spLocks/>
            </p:cNvSpPr>
            <p:nvPr>
              <p:custDataLst>
                <p:tags r:id="rId5"/>
              </p:custDataLst>
            </p:nvPr>
          </p:nvSpPr>
          <p:spPr bwMode="gray">
            <a:xfrm rot="13581258">
              <a:off x="3023251" y="3271716"/>
              <a:ext cx="1326082" cy="1308125"/>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76A4D3"/>
            </a:solidFill>
            <a:ln w="3175" cap="flat" cmpd="sng">
              <a:solidFill>
                <a:srgbClr val="72A1D2"/>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9" name="TextBox 168">
              <a:extLst>
                <a:ext uri="{FF2B5EF4-FFF2-40B4-BE49-F238E27FC236}">
                  <a16:creationId xmlns:a16="http://schemas.microsoft.com/office/drawing/2014/main" id="{89BFC5C4-31B9-4568-97F2-CAD526631C5D}"/>
                </a:ext>
              </a:extLst>
            </p:cNvPr>
            <p:cNvSpPr txBox="1"/>
            <p:nvPr/>
          </p:nvSpPr>
          <p:spPr>
            <a:xfrm>
              <a:off x="3030700" y="2909001"/>
              <a:ext cx="1372622" cy="350568"/>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r>
                <a:rPr kumimoji="0" lang="en-GB" sz="1800" b="0" i="0" u="none" strike="noStrike" kern="1200" cap="none" spc="0" normalizeH="0" baseline="0" noProof="0">
                  <a:ln>
                    <a:noFill/>
                  </a:ln>
                  <a:solidFill>
                    <a:srgbClr val="0078D4">
                      <a:lumMod val="75000"/>
                    </a:srgbClr>
                  </a:solidFill>
                  <a:effectLst/>
                  <a:uLnTx/>
                  <a:uFillTx/>
                  <a:latin typeface="Segoe UI Semibold"/>
                  <a:ea typeface="+mn-ea"/>
                  <a:cs typeface="Arial" panose="020B0604020202020204" pitchFamily="34" charset="0"/>
                </a:rPr>
                <a:t>Experiment</a:t>
              </a:r>
            </a:p>
          </p:txBody>
        </p:sp>
      </p:grpSp>
      <p:pic>
        <p:nvPicPr>
          <p:cNvPr id="4" name="Picture 3">
            <a:extLst>
              <a:ext uri="{FF2B5EF4-FFF2-40B4-BE49-F238E27FC236}">
                <a16:creationId xmlns:a16="http://schemas.microsoft.com/office/drawing/2014/main" id="{DD8FD33D-25DF-4335-9E8E-3C90AD6635A0}"/>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576140" y="1726670"/>
            <a:ext cx="4585160" cy="2632314"/>
          </a:xfrm>
          <a:prstGeom prst="rect">
            <a:avLst/>
          </a:prstGeom>
        </p:spPr>
      </p:pic>
      <p:sp>
        <p:nvSpPr>
          <p:cNvPr id="20" name="TextBox 8">
            <a:extLst>
              <a:ext uri="{FF2B5EF4-FFF2-40B4-BE49-F238E27FC236}">
                <a16:creationId xmlns:a16="http://schemas.microsoft.com/office/drawing/2014/main" id="{3ADA5403-A569-4263-9073-B93C7AF731CF}"/>
              </a:ext>
            </a:extLst>
          </p:cNvPr>
          <p:cNvSpPr txBox="1"/>
          <p:nvPr/>
        </p:nvSpPr>
        <p:spPr>
          <a:xfrm>
            <a:off x="4897463" y="5278629"/>
            <a:ext cx="3130428" cy="830997"/>
          </a:xfrm>
          <a:prstGeom prst="rect">
            <a:avLst/>
          </a:prstGeom>
          <a:noFill/>
        </p:spPr>
        <p:txBody>
          <a:bodyPr wrap="square" lIns="0" tIns="0" rIns="0" bIns="0" rtlCol="0">
            <a:spAutoFit/>
          </a:bodyPr>
          <a:lstStyle/>
          <a:p>
            <a:pPr marL="457183" marR="0" lvl="1"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	   + Testing</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Integration</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Deployment</a:t>
            </a:r>
          </a:p>
        </p:txBody>
      </p:sp>
    </p:spTree>
    <p:extLst>
      <p:ext uri="{BB962C8B-B14F-4D97-AF65-F5344CB8AC3E}">
        <p14:creationId xmlns:p14="http://schemas.microsoft.com/office/powerpoint/2010/main" val="29950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5ECD4-1699-454D-AF6B-027117574E4B}"/>
              </a:ext>
            </a:extLst>
          </p:cNvPr>
          <p:cNvSpPr>
            <a:spLocks noGrp="1"/>
          </p:cNvSpPr>
          <p:nvPr>
            <p:ph type="title"/>
          </p:nvPr>
        </p:nvSpPr>
        <p:spPr>
          <a:xfrm>
            <a:off x="588263" y="457200"/>
            <a:ext cx="11018520" cy="553998"/>
          </a:xfrm>
        </p:spPr>
        <p:txBody>
          <a:bodyPr>
            <a:normAutofit fontScale="90000"/>
          </a:bodyPr>
          <a:lstStyle/>
          <a:p>
            <a:r>
              <a:rPr lang="en-US"/>
              <a:t>Key Goals of DevOps for AI</a:t>
            </a:r>
          </a:p>
        </p:txBody>
      </p:sp>
      <p:sp>
        <p:nvSpPr>
          <p:cNvPr id="3" name="Text Placeholder 2">
            <a:extLst>
              <a:ext uri="{FF2B5EF4-FFF2-40B4-BE49-F238E27FC236}">
                <a16:creationId xmlns:a16="http://schemas.microsoft.com/office/drawing/2014/main" id="{0BF660C1-4387-451D-BF96-7DEC97D8833A}"/>
              </a:ext>
            </a:extLst>
          </p:cNvPr>
          <p:cNvSpPr>
            <a:spLocks noGrp="1"/>
          </p:cNvSpPr>
          <p:nvPr>
            <p:ph type="body" sz="quarter" idx="10"/>
          </p:nvPr>
        </p:nvSpPr>
        <p:spPr>
          <a:xfrm>
            <a:off x="584200" y="1435497"/>
            <a:ext cx="11018520" cy="2856167"/>
          </a:xfrm>
        </p:spPr>
        <p:txBody>
          <a:bodyPr/>
          <a:lstStyle/>
          <a:p>
            <a:pPr lvl="1"/>
            <a:r>
              <a:rPr lang="en-US" sz="3200"/>
              <a:t>Repeatability of model creation &amp; behavior</a:t>
            </a:r>
          </a:p>
          <a:p>
            <a:pPr lvl="1"/>
            <a:r>
              <a:rPr lang="en-US" sz="3200"/>
              <a:t>Evaluation of model predictions</a:t>
            </a:r>
          </a:p>
          <a:p>
            <a:pPr lvl="1"/>
            <a:r>
              <a:rPr lang="en-US" sz="3200"/>
              <a:t>Managing different model versions and files</a:t>
            </a:r>
          </a:p>
          <a:p>
            <a:pPr lvl="1"/>
            <a:r>
              <a:rPr lang="en-US" sz="3200"/>
              <a:t>Operationalization of the model</a:t>
            </a:r>
          </a:p>
          <a:p>
            <a:pPr lvl="1"/>
            <a:r>
              <a:rPr lang="en-US" sz="3200"/>
              <a:t>Monitoring of training and scoring pipelines</a:t>
            </a:r>
          </a:p>
        </p:txBody>
      </p:sp>
    </p:spTree>
    <p:extLst>
      <p:ext uri="{BB962C8B-B14F-4D97-AF65-F5344CB8AC3E}">
        <p14:creationId xmlns:p14="http://schemas.microsoft.com/office/powerpoint/2010/main" val="287612422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3E991838-0292-475E-BE6E-7DC25E750F50}"/>
              </a:ext>
            </a:extLst>
          </p:cNvPr>
          <p:cNvSpPr/>
          <p:nvPr/>
        </p:nvSpPr>
        <p:spPr>
          <a:xfrm>
            <a:off x="9697091" y="2657759"/>
            <a:ext cx="885374"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Monitor</a:t>
            </a:r>
          </a:p>
        </p:txBody>
      </p:sp>
      <p:sp>
        <p:nvSpPr>
          <p:cNvPr id="144" name="Rectangle 143">
            <a:extLst>
              <a:ext uri="{FF2B5EF4-FFF2-40B4-BE49-F238E27FC236}">
                <a16:creationId xmlns:a16="http://schemas.microsoft.com/office/drawing/2014/main" id="{2D1D68FC-A62F-4778-A883-AAE7751C4302}"/>
              </a:ext>
            </a:extLst>
          </p:cNvPr>
          <p:cNvSpPr/>
          <p:nvPr/>
        </p:nvSpPr>
        <p:spPr>
          <a:xfrm>
            <a:off x="8145143" y="2655363"/>
            <a:ext cx="88858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Operate</a:t>
            </a:r>
          </a:p>
        </p:txBody>
      </p:sp>
      <p:sp>
        <p:nvSpPr>
          <p:cNvPr id="145" name="Rectangle 144">
            <a:extLst>
              <a:ext uri="{FF2B5EF4-FFF2-40B4-BE49-F238E27FC236}">
                <a16:creationId xmlns:a16="http://schemas.microsoft.com/office/drawing/2014/main" id="{B70D6ABA-4203-4617-9F8A-09CE1249F5F3}"/>
              </a:ext>
            </a:extLst>
          </p:cNvPr>
          <p:cNvSpPr/>
          <p:nvPr/>
        </p:nvSpPr>
        <p:spPr>
          <a:xfrm>
            <a:off x="4641855" y="2655363"/>
            <a:ext cx="1364923"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Build and test</a:t>
            </a:r>
          </a:p>
        </p:txBody>
      </p:sp>
      <p:sp>
        <p:nvSpPr>
          <p:cNvPr id="146" name="Rectangle 145">
            <a:extLst>
              <a:ext uri="{FF2B5EF4-FFF2-40B4-BE49-F238E27FC236}">
                <a16:creationId xmlns:a16="http://schemas.microsoft.com/office/drawing/2014/main" id="{D5C899AB-6676-4076-85CF-AF2C1A150D14}"/>
              </a:ext>
            </a:extLst>
          </p:cNvPr>
          <p:cNvSpPr/>
          <p:nvPr/>
        </p:nvSpPr>
        <p:spPr>
          <a:xfrm>
            <a:off x="1108888" y="2655363"/>
            <a:ext cx="140820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Plan and track</a:t>
            </a:r>
          </a:p>
        </p:txBody>
      </p:sp>
      <p:sp>
        <p:nvSpPr>
          <p:cNvPr id="147" name="Rectangle 146">
            <a:extLst>
              <a:ext uri="{FF2B5EF4-FFF2-40B4-BE49-F238E27FC236}">
                <a16:creationId xmlns:a16="http://schemas.microsoft.com/office/drawing/2014/main" id="{2A1F2E97-4F18-47D0-93E8-ED3AB15C7B63}"/>
              </a:ext>
            </a:extLst>
          </p:cNvPr>
          <p:cNvSpPr/>
          <p:nvPr/>
        </p:nvSpPr>
        <p:spPr>
          <a:xfrm>
            <a:off x="6669300" y="2655363"/>
            <a:ext cx="80267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Deploy</a:t>
            </a:r>
          </a:p>
        </p:txBody>
      </p:sp>
      <p:sp>
        <p:nvSpPr>
          <p:cNvPr id="153" name="Rectangle 152">
            <a:extLst>
              <a:ext uri="{FF2B5EF4-FFF2-40B4-BE49-F238E27FC236}">
                <a16:creationId xmlns:a16="http://schemas.microsoft.com/office/drawing/2014/main" id="{ABC5C16C-679E-4BB5-A971-AA28B4D3DF54}"/>
              </a:ext>
            </a:extLst>
          </p:cNvPr>
          <p:cNvSpPr/>
          <p:nvPr/>
        </p:nvSpPr>
        <p:spPr>
          <a:xfrm>
            <a:off x="3212645" y="2657759"/>
            <a:ext cx="643676"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Code</a:t>
            </a:r>
            <a:endParaRPr lang="en-US" sz="1567">
              <a:gradFill>
                <a:gsLst>
                  <a:gs pos="0">
                    <a:srgbClr val="0078D7"/>
                  </a:gs>
                  <a:gs pos="100000">
                    <a:srgbClr val="0078D7"/>
                  </a:gs>
                </a:gsLst>
                <a:lin ang="16200000" scaled="0"/>
              </a:gradFill>
              <a:latin typeface="Segoe UI" panose="020B0502040204020203" pitchFamily="34" charset="0"/>
              <a:cs typeface="Segoe UI" panose="020B0502040204020203" pitchFamily="34" charset="0"/>
            </a:endParaRPr>
          </a:p>
        </p:txBody>
      </p:sp>
      <p:cxnSp>
        <p:nvCxnSpPr>
          <p:cNvPr id="121" name="Straight Arrow Connector 120">
            <a:extLst>
              <a:ext uri="{FF2B5EF4-FFF2-40B4-BE49-F238E27FC236}">
                <a16:creationId xmlns:a16="http://schemas.microsoft.com/office/drawing/2014/main" id="{71679A01-E2FC-4EB4-929E-4146AE58A82C}"/>
              </a:ext>
            </a:extLst>
          </p:cNvPr>
          <p:cNvCxnSpPr>
            <a:cxnSpLocks/>
          </p:cNvCxnSpPr>
          <p:nvPr/>
        </p:nvCxnSpPr>
        <p:spPr>
          <a:xfrm flipV="1">
            <a:off x="2458172"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C4FB374-A532-4FCD-B126-707D0B205F12}"/>
              </a:ext>
            </a:extLst>
          </p:cNvPr>
          <p:cNvCxnSpPr>
            <a:cxnSpLocks/>
          </p:cNvCxnSpPr>
          <p:nvPr/>
        </p:nvCxnSpPr>
        <p:spPr>
          <a:xfrm flipV="1">
            <a:off x="4225372"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100B4B-4013-4220-9A4E-D2DD3BB662DE}"/>
              </a:ext>
            </a:extLst>
          </p:cNvPr>
          <p:cNvCxnSpPr>
            <a:cxnSpLocks/>
          </p:cNvCxnSpPr>
          <p:nvPr/>
        </p:nvCxnSpPr>
        <p:spPr>
          <a:xfrm flipV="1">
            <a:off x="5982846"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0D7848B3-BE94-4FAC-A274-1742DD283474}"/>
              </a:ext>
            </a:extLst>
          </p:cNvPr>
          <p:cNvCxnSpPr>
            <a:cxnSpLocks/>
          </p:cNvCxnSpPr>
          <p:nvPr/>
        </p:nvCxnSpPr>
        <p:spPr>
          <a:xfrm flipV="1">
            <a:off x="7617006"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91BF8A22-6EC4-46E5-A8DF-2BF1D2EBB9D4}"/>
              </a:ext>
            </a:extLst>
          </p:cNvPr>
          <p:cNvCxnSpPr>
            <a:cxnSpLocks/>
          </p:cNvCxnSpPr>
          <p:nvPr/>
        </p:nvCxnSpPr>
        <p:spPr>
          <a:xfrm flipV="1">
            <a:off x="9135908"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C00DA3ED-324D-4031-95CC-E8D5990E5A26}"/>
              </a:ext>
            </a:extLst>
          </p:cNvPr>
          <p:cNvCxnSpPr>
            <a:cxnSpLocks/>
          </p:cNvCxnSpPr>
          <p:nvPr/>
        </p:nvCxnSpPr>
        <p:spPr>
          <a:xfrm rot="10800000">
            <a:off x="1168037" y="3227077"/>
            <a:ext cx="9373846" cy="594219"/>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1BE36B55-616C-43AD-9701-8446E51D8106}"/>
              </a:ext>
            </a:extLst>
          </p:cNvPr>
          <p:cNvCxnSpPr>
            <a:cxnSpLocks/>
          </p:cNvCxnSpPr>
          <p:nvPr/>
        </p:nvCxnSpPr>
        <p:spPr>
          <a:xfrm>
            <a:off x="1153877" y="3836752"/>
            <a:ext cx="283566"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B7B923F-1F70-48B2-AE31-051D47EF55CF}"/>
              </a:ext>
            </a:extLst>
          </p:cNvPr>
          <p:cNvCxnSpPr>
            <a:cxnSpLocks/>
          </p:cNvCxnSpPr>
          <p:nvPr/>
        </p:nvCxnSpPr>
        <p:spPr>
          <a:xfrm flipV="1">
            <a:off x="1153877" y="3227078"/>
            <a:ext cx="0" cy="609676"/>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A963DAD-2BC4-4E71-AF46-57A36E2ECE1D}"/>
              </a:ext>
            </a:extLst>
          </p:cNvPr>
          <p:cNvGrpSpPr/>
          <p:nvPr/>
        </p:nvGrpSpPr>
        <p:grpSpPr>
          <a:xfrm>
            <a:off x="1259070" y="3599248"/>
            <a:ext cx="1107839" cy="816765"/>
            <a:chOff x="1418556" y="2937917"/>
            <a:chExt cx="1107996" cy="816881"/>
          </a:xfrm>
        </p:grpSpPr>
        <p:pic>
          <p:nvPicPr>
            <p:cNvPr id="71" name="Picture 70">
              <a:extLst>
                <a:ext uri="{FF2B5EF4-FFF2-40B4-BE49-F238E27FC236}">
                  <a16:creationId xmlns:a16="http://schemas.microsoft.com/office/drawing/2014/main" id="{5B62F894-27A2-4655-8F1A-9C389CCC0A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8775" y="2937917"/>
              <a:ext cx="407551" cy="404852"/>
            </a:xfrm>
            <a:prstGeom prst="rect">
              <a:avLst/>
            </a:prstGeom>
          </p:spPr>
        </p:pic>
        <p:sp>
          <p:nvSpPr>
            <p:cNvPr id="63" name="Rectangle 62">
              <a:extLst>
                <a:ext uri="{FF2B5EF4-FFF2-40B4-BE49-F238E27FC236}">
                  <a16:creationId xmlns:a16="http://schemas.microsoft.com/office/drawing/2014/main" id="{E05229D1-5139-4E5A-8C88-6A9B4B21354E}"/>
                </a:ext>
              </a:extLst>
            </p:cNvPr>
            <p:cNvSpPr/>
            <p:nvPr/>
          </p:nvSpPr>
          <p:spPr>
            <a:xfrm>
              <a:off x="1418556" y="3339556"/>
              <a:ext cx="1107996" cy="415242"/>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Boards</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10" name="Group 9">
            <a:extLst>
              <a:ext uri="{FF2B5EF4-FFF2-40B4-BE49-F238E27FC236}">
                <a16:creationId xmlns:a16="http://schemas.microsoft.com/office/drawing/2014/main" id="{BC3E929E-6D3B-4BC1-95B2-816AB529D3D8}"/>
              </a:ext>
            </a:extLst>
          </p:cNvPr>
          <p:cNvGrpSpPr/>
          <p:nvPr/>
        </p:nvGrpSpPr>
        <p:grpSpPr>
          <a:xfrm>
            <a:off x="2719197" y="3599248"/>
            <a:ext cx="1630576" cy="810284"/>
            <a:chOff x="2878889" y="2937917"/>
            <a:chExt cx="1630807" cy="810399"/>
          </a:xfrm>
        </p:grpSpPr>
        <p:pic>
          <p:nvPicPr>
            <p:cNvPr id="70" name="Picture 69">
              <a:extLst>
                <a:ext uri="{FF2B5EF4-FFF2-40B4-BE49-F238E27FC236}">
                  <a16:creationId xmlns:a16="http://schemas.microsoft.com/office/drawing/2014/main" id="{040D5AF4-9C81-496C-ADE7-F172098731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05607" y="2937917"/>
              <a:ext cx="377361" cy="404852"/>
            </a:xfrm>
            <a:prstGeom prst="rect">
              <a:avLst/>
            </a:prstGeom>
          </p:spPr>
        </p:pic>
        <p:sp>
          <p:nvSpPr>
            <p:cNvPr id="64" name="Rectangle 63">
              <a:extLst>
                <a:ext uri="{FF2B5EF4-FFF2-40B4-BE49-F238E27FC236}">
                  <a16:creationId xmlns:a16="http://schemas.microsoft.com/office/drawing/2014/main" id="{F10443FF-A44C-426A-9B78-53C0538ABAC2}"/>
                </a:ext>
              </a:extLst>
            </p:cNvPr>
            <p:cNvSpPr/>
            <p:nvPr/>
          </p:nvSpPr>
          <p:spPr>
            <a:xfrm>
              <a:off x="2878889" y="3339556"/>
              <a:ext cx="1630807" cy="408760"/>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Repos</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 / GitHub)</a:t>
              </a:r>
            </a:p>
          </p:txBody>
        </p:sp>
      </p:grpSp>
      <p:grpSp>
        <p:nvGrpSpPr>
          <p:cNvPr id="19" name="Group 18">
            <a:extLst>
              <a:ext uri="{FF2B5EF4-FFF2-40B4-BE49-F238E27FC236}">
                <a16:creationId xmlns:a16="http://schemas.microsoft.com/office/drawing/2014/main" id="{53E081FA-0217-42BB-83D5-1801E6893A43}"/>
              </a:ext>
            </a:extLst>
          </p:cNvPr>
          <p:cNvGrpSpPr/>
          <p:nvPr/>
        </p:nvGrpSpPr>
        <p:grpSpPr>
          <a:xfrm>
            <a:off x="9712484" y="3576825"/>
            <a:ext cx="854599" cy="839187"/>
            <a:chOff x="10071140" y="2973457"/>
            <a:chExt cx="871860" cy="856136"/>
          </a:xfrm>
        </p:grpSpPr>
        <p:pic>
          <p:nvPicPr>
            <p:cNvPr id="192" name="Picture 4" descr="Image result for app insights logo azure png">
              <a:extLst>
                <a:ext uri="{FF2B5EF4-FFF2-40B4-BE49-F238E27FC236}">
                  <a16:creationId xmlns:a16="http://schemas.microsoft.com/office/drawing/2014/main" id="{C36AD062-1010-4F21-9484-36242607C01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7710" y="2973457"/>
              <a:ext cx="458721" cy="458721"/>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30C1632F-90DB-4C4A-B45E-DA69E2874E9F}"/>
                </a:ext>
              </a:extLst>
            </p:cNvPr>
            <p:cNvSpPr/>
            <p:nvPr/>
          </p:nvSpPr>
          <p:spPr>
            <a:xfrm>
              <a:off x="10071140" y="3406025"/>
              <a:ext cx="871860" cy="423568"/>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pplication</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Insights</a:t>
              </a:r>
            </a:p>
          </p:txBody>
        </p:sp>
      </p:grpSp>
      <p:grpSp>
        <p:nvGrpSpPr>
          <p:cNvPr id="16" name="Group 15">
            <a:extLst>
              <a:ext uri="{FF2B5EF4-FFF2-40B4-BE49-F238E27FC236}">
                <a16:creationId xmlns:a16="http://schemas.microsoft.com/office/drawing/2014/main" id="{74F90CFF-8C0F-41E1-97FD-AEBA8B190701}"/>
              </a:ext>
            </a:extLst>
          </p:cNvPr>
          <p:cNvGrpSpPr/>
          <p:nvPr/>
        </p:nvGrpSpPr>
        <p:grpSpPr>
          <a:xfrm>
            <a:off x="4629573" y="3599249"/>
            <a:ext cx="1395057" cy="816766"/>
            <a:chOff x="4885569" y="2996332"/>
            <a:chExt cx="1423231" cy="833262"/>
          </a:xfrm>
        </p:grpSpPr>
        <p:pic>
          <p:nvPicPr>
            <p:cNvPr id="67" name="Picture 66">
              <a:extLst>
                <a:ext uri="{FF2B5EF4-FFF2-40B4-BE49-F238E27FC236}">
                  <a16:creationId xmlns:a16="http://schemas.microsoft.com/office/drawing/2014/main" id="{5610A875-9642-4C16-B54A-51F04779F3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87864" y="2996332"/>
              <a:ext cx="412970" cy="412970"/>
            </a:xfrm>
            <a:prstGeom prst="rect">
              <a:avLst/>
            </a:prstGeom>
          </p:spPr>
        </p:pic>
        <p:sp>
          <p:nvSpPr>
            <p:cNvPr id="79" name="Rectangle 78">
              <a:extLst>
                <a:ext uri="{FF2B5EF4-FFF2-40B4-BE49-F238E27FC236}">
                  <a16:creationId xmlns:a16="http://schemas.microsoft.com/office/drawing/2014/main" id="{B076DB3E-ED70-4524-AD33-7982D24FF37D}"/>
                </a:ext>
              </a:extLst>
            </p:cNvPr>
            <p:cNvSpPr/>
            <p:nvPr/>
          </p:nvSpPr>
          <p:spPr>
            <a:xfrm>
              <a:off x="4885569" y="3406025"/>
              <a:ext cx="1423231" cy="423569"/>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Pipelines &amp; Test Plans</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17" name="Group 16">
            <a:extLst>
              <a:ext uri="{FF2B5EF4-FFF2-40B4-BE49-F238E27FC236}">
                <a16:creationId xmlns:a16="http://schemas.microsoft.com/office/drawing/2014/main" id="{4654A472-0E47-4915-9A8E-9CC01FD80666}"/>
              </a:ext>
            </a:extLst>
          </p:cNvPr>
          <p:cNvGrpSpPr/>
          <p:nvPr/>
        </p:nvGrpSpPr>
        <p:grpSpPr>
          <a:xfrm>
            <a:off x="6442481" y="3599249"/>
            <a:ext cx="1294722" cy="816766"/>
            <a:chOff x="6735082" y="2996332"/>
            <a:chExt cx="1320867" cy="833262"/>
          </a:xfrm>
        </p:grpSpPr>
        <p:pic>
          <p:nvPicPr>
            <p:cNvPr id="66" name="Picture 65">
              <a:extLst>
                <a:ext uri="{FF2B5EF4-FFF2-40B4-BE49-F238E27FC236}">
                  <a16:creationId xmlns:a16="http://schemas.microsoft.com/office/drawing/2014/main" id="{BCC8CAD9-2834-4DB8-ABCF-E64AC22E88C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6701" y="2996332"/>
              <a:ext cx="418475" cy="412970"/>
            </a:xfrm>
            <a:prstGeom prst="rect">
              <a:avLst/>
            </a:prstGeom>
          </p:spPr>
        </p:pic>
        <p:sp>
          <p:nvSpPr>
            <p:cNvPr id="83" name="Rectangle 82">
              <a:extLst>
                <a:ext uri="{FF2B5EF4-FFF2-40B4-BE49-F238E27FC236}">
                  <a16:creationId xmlns:a16="http://schemas.microsoft.com/office/drawing/2014/main" id="{5D58013E-EB0B-4C51-8B04-03BD2799504A}"/>
                </a:ext>
              </a:extLst>
            </p:cNvPr>
            <p:cNvSpPr/>
            <p:nvPr/>
          </p:nvSpPr>
          <p:spPr>
            <a:xfrm>
              <a:off x="6735082" y="3406025"/>
              <a:ext cx="1320867" cy="423569"/>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rtifacts &amp; Pipelines</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sp>
        <p:nvSpPr>
          <p:cNvPr id="85" name="Title 16">
            <a:extLst>
              <a:ext uri="{FF2B5EF4-FFF2-40B4-BE49-F238E27FC236}">
                <a16:creationId xmlns:a16="http://schemas.microsoft.com/office/drawing/2014/main" id="{2CD05ED2-1071-4A65-9B8F-D083170C6877}"/>
              </a:ext>
            </a:extLst>
          </p:cNvPr>
          <p:cNvSpPr>
            <a:spLocks noGrp="1"/>
          </p:cNvSpPr>
          <p:nvPr>
            <p:ph type="title"/>
          </p:nvPr>
        </p:nvSpPr>
        <p:spPr>
          <a:xfrm>
            <a:off x="588263" y="457200"/>
            <a:ext cx="11018520" cy="553998"/>
          </a:xfrm>
        </p:spPr>
        <p:txBody>
          <a:bodyPr>
            <a:normAutofit fontScale="90000"/>
          </a:bodyPr>
          <a:lstStyle/>
          <a:p>
            <a:r>
              <a:rPr lang="en-US"/>
              <a:t>DevOps Framework for Azure AI Solutions</a:t>
            </a:r>
          </a:p>
        </p:txBody>
      </p:sp>
      <p:cxnSp>
        <p:nvCxnSpPr>
          <p:cNvPr id="80" name="Straight Arrow Connector 79">
            <a:extLst>
              <a:ext uri="{FF2B5EF4-FFF2-40B4-BE49-F238E27FC236}">
                <a16:creationId xmlns:a16="http://schemas.microsoft.com/office/drawing/2014/main" id="{9A79874F-46B8-4B84-9F42-2C2549771C5C}"/>
              </a:ext>
            </a:extLst>
          </p:cNvPr>
          <p:cNvCxnSpPr>
            <a:cxnSpLocks/>
          </p:cNvCxnSpPr>
          <p:nvPr/>
        </p:nvCxnSpPr>
        <p:spPr>
          <a:xfrm>
            <a:off x="3404216" y="4499675"/>
            <a:ext cx="0" cy="468361"/>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89" name="Group 326">
            <a:extLst>
              <a:ext uri="{FF2B5EF4-FFF2-40B4-BE49-F238E27FC236}">
                <a16:creationId xmlns:a16="http://schemas.microsoft.com/office/drawing/2014/main" id="{B3DD67DB-C152-4FD7-AFC0-204A07078CA8}"/>
              </a:ext>
            </a:extLst>
          </p:cNvPr>
          <p:cNvGrpSpPr>
            <a:grpSpLocks noChangeAspect="1"/>
          </p:cNvGrpSpPr>
          <p:nvPr/>
        </p:nvGrpSpPr>
        <p:grpSpPr bwMode="auto">
          <a:xfrm>
            <a:off x="3584454" y="5138765"/>
            <a:ext cx="925120" cy="423988"/>
            <a:chOff x="6816" y="2557"/>
            <a:chExt cx="259" cy="136"/>
          </a:xfrm>
          <a:noFill/>
        </p:grpSpPr>
        <p:sp useBgFill="1">
          <p:nvSpPr>
            <p:cNvPr id="90" name="Freeform 328">
              <a:extLst>
                <a:ext uri="{FF2B5EF4-FFF2-40B4-BE49-F238E27FC236}">
                  <a16:creationId xmlns:a16="http://schemas.microsoft.com/office/drawing/2014/main" id="{562F9285-33BC-43C5-889A-99B2BA69CA7E}"/>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91" name="Rectangle 327">
              <a:extLst>
                <a:ext uri="{FF2B5EF4-FFF2-40B4-BE49-F238E27FC236}">
                  <a16:creationId xmlns:a16="http://schemas.microsoft.com/office/drawing/2014/main" id="{C18856C1-432E-4E18-AD0E-7B5C59059BA4}"/>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2" name="Group 326">
            <a:extLst>
              <a:ext uri="{FF2B5EF4-FFF2-40B4-BE49-F238E27FC236}">
                <a16:creationId xmlns:a16="http://schemas.microsoft.com/office/drawing/2014/main" id="{4FF9DF60-D1EC-4D73-8441-8BE0614D827B}"/>
              </a:ext>
            </a:extLst>
          </p:cNvPr>
          <p:cNvGrpSpPr>
            <a:grpSpLocks noChangeAspect="1"/>
          </p:cNvGrpSpPr>
          <p:nvPr/>
        </p:nvGrpSpPr>
        <p:grpSpPr bwMode="auto">
          <a:xfrm>
            <a:off x="2522009" y="5138765"/>
            <a:ext cx="925120" cy="423988"/>
            <a:chOff x="6816" y="2557"/>
            <a:chExt cx="259" cy="136"/>
          </a:xfrm>
          <a:noFill/>
        </p:grpSpPr>
        <p:sp useBgFill="1">
          <p:nvSpPr>
            <p:cNvPr id="93" name="Freeform 328">
              <a:extLst>
                <a:ext uri="{FF2B5EF4-FFF2-40B4-BE49-F238E27FC236}">
                  <a16:creationId xmlns:a16="http://schemas.microsoft.com/office/drawing/2014/main" id="{5E48B3C7-6A02-4A51-B3EB-B7A20DAFDD96}"/>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94" name="Rectangle 327">
              <a:extLst>
                <a:ext uri="{FF2B5EF4-FFF2-40B4-BE49-F238E27FC236}">
                  <a16:creationId xmlns:a16="http://schemas.microsoft.com/office/drawing/2014/main" id="{D80C5FA6-32F7-42AA-A28E-9FEE98A82CF8}"/>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95" name="Straight Arrow Connector 94">
            <a:extLst>
              <a:ext uri="{FF2B5EF4-FFF2-40B4-BE49-F238E27FC236}">
                <a16:creationId xmlns:a16="http://schemas.microsoft.com/office/drawing/2014/main" id="{75717557-B009-4B61-B3C2-D842C2328CD4}"/>
              </a:ext>
            </a:extLst>
          </p:cNvPr>
          <p:cNvCxnSpPr>
            <a:cxnSpLocks/>
          </p:cNvCxnSpPr>
          <p:nvPr/>
        </p:nvCxnSpPr>
        <p:spPr>
          <a:xfrm flipV="1">
            <a:off x="3720072" y="4497791"/>
            <a:ext cx="0" cy="470245"/>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6CA5C26C-AEFE-4852-BEC5-F4F50526B419}"/>
              </a:ext>
            </a:extLst>
          </p:cNvPr>
          <p:cNvPicPr>
            <a:picLocks noChangeAspect="1"/>
          </p:cNvPicPr>
          <p:nvPr/>
        </p:nvPicPr>
        <p:blipFill>
          <a:blip r:embed="rId8"/>
          <a:stretch>
            <a:fillRect/>
          </a:stretch>
        </p:blipFill>
        <p:spPr>
          <a:xfrm>
            <a:off x="8360796" y="3601135"/>
            <a:ext cx="434126" cy="440323"/>
          </a:xfrm>
          <a:prstGeom prst="rect">
            <a:avLst/>
          </a:prstGeom>
        </p:spPr>
      </p:pic>
      <p:sp>
        <p:nvSpPr>
          <p:cNvPr id="41" name="Rectangle 40">
            <a:extLst>
              <a:ext uri="{FF2B5EF4-FFF2-40B4-BE49-F238E27FC236}">
                <a16:creationId xmlns:a16="http://schemas.microsoft.com/office/drawing/2014/main" id="{D99404D6-6320-4C20-B4D3-8DB2683E5193}"/>
              </a:ext>
            </a:extLst>
          </p:cNvPr>
          <p:cNvSpPr/>
          <p:nvPr/>
        </p:nvSpPr>
        <p:spPr>
          <a:xfrm>
            <a:off x="7997784" y="4000333"/>
            <a:ext cx="1186350" cy="566886"/>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Model monitoring</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Machine </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Learning Service)</a:t>
            </a:r>
          </a:p>
        </p:txBody>
      </p:sp>
      <p:pic>
        <p:nvPicPr>
          <p:cNvPr id="42" name="Picture 41">
            <a:extLst>
              <a:ext uri="{FF2B5EF4-FFF2-40B4-BE49-F238E27FC236}">
                <a16:creationId xmlns:a16="http://schemas.microsoft.com/office/drawing/2014/main" id="{011CB1FF-2977-4C98-8510-304CE6D9BB9C}"/>
              </a:ext>
            </a:extLst>
          </p:cNvPr>
          <p:cNvPicPr>
            <a:picLocks noChangeAspect="1"/>
          </p:cNvPicPr>
          <p:nvPr/>
        </p:nvPicPr>
        <p:blipFill>
          <a:blip r:embed="rId8"/>
          <a:stretch>
            <a:fillRect/>
          </a:stretch>
        </p:blipFill>
        <p:spPr>
          <a:xfrm>
            <a:off x="5132881" y="5188150"/>
            <a:ext cx="434126" cy="440323"/>
          </a:xfrm>
          <a:prstGeom prst="rect">
            <a:avLst/>
          </a:prstGeom>
        </p:spPr>
      </p:pic>
      <p:sp>
        <p:nvSpPr>
          <p:cNvPr id="43" name="Rectangle 42">
            <a:extLst>
              <a:ext uri="{FF2B5EF4-FFF2-40B4-BE49-F238E27FC236}">
                <a16:creationId xmlns:a16="http://schemas.microsoft.com/office/drawing/2014/main" id="{68DFAD9F-DD8E-46D2-8751-13842713CD90}"/>
              </a:ext>
            </a:extLst>
          </p:cNvPr>
          <p:cNvSpPr/>
          <p:nvPr/>
        </p:nvSpPr>
        <p:spPr>
          <a:xfrm>
            <a:off x="4719291" y="5628473"/>
            <a:ext cx="1261306" cy="408702"/>
          </a:xfrm>
          <a:prstGeom prst="rect">
            <a:avLst/>
          </a:prstGeom>
        </p:spPr>
        <p:txBody>
          <a:bodyPr wrap="squar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Training Pipelines (Azure ML)</a:t>
            </a:r>
          </a:p>
        </p:txBody>
      </p:sp>
      <p:cxnSp>
        <p:nvCxnSpPr>
          <p:cNvPr id="45" name="Straight Arrow Connector 44">
            <a:extLst>
              <a:ext uri="{FF2B5EF4-FFF2-40B4-BE49-F238E27FC236}">
                <a16:creationId xmlns:a16="http://schemas.microsoft.com/office/drawing/2014/main" id="{0078AC46-2E8E-4094-8A6E-B52DA5F80FE5}"/>
              </a:ext>
            </a:extLst>
          </p:cNvPr>
          <p:cNvCxnSpPr>
            <a:cxnSpLocks/>
          </p:cNvCxnSpPr>
          <p:nvPr/>
        </p:nvCxnSpPr>
        <p:spPr>
          <a:xfrm>
            <a:off x="5173945" y="4499674"/>
            <a:ext cx="0" cy="468361"/>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5F94B04-0695-47AB-8D62-C46576457A23}"/>
              </a:ext>
            </a:extLst>
          </p:cNvPr>
          <p:cNvCxnSpPr>
            <a:cxnSpLocks/>
          </p:cNvCxnSpPr>
          <p:nvPr/>
        </p:nvCxnSpPr>
        <p:spPr>
          <a:xfrm flipV="1">
            <a:off x="5489801" y="4497790"/>
            <a:ext cx="0" cy="470245"/>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40270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2E5A76-4004-436A-926E-A2E8224102B1}"/>
              </a:ext>
            </a:extLst>
          </p:cNvPr>
          <p:cNvPicPr>
            <a:picLocks noChangeAspect="1"/>
          </p:cNvPicPr>
          <p:nvPr/>
        </p:nvPicPr>
        <p:blipFill>
          <a:blip r:embed="rId2"/>
          <a:stretch>
            <a:fillRect/>
          </a:stretch>
        </p:blipFill>
        <p:spPr>
          <a:xfrm>
            <a:off x="0" y="0"/>
            <a:ext cx="12192000" cy="6594565"/>
          </a:xfrm>
          <a:prstGeom prst="rect">
            <a:avLst/>
          </a:prstGeom>
        </p:spPr>
      </p:pic>
      <p:sp>
        <p:nvSpPr>
          <p:cNvPr id="2" name="TextBox 1">
            <a:extLst>
              <a:ext uri="{FF2B5EF4-FFF2-40B4-BE49-F238E27FC236}">
                <a16:creationId xmlns:a16="http://schemas.microsoft.com/office/drawing/2014/main" id="{0D987711-230A-43FA-8CC5-5B2B93E9833C}"/>
              </a:ext>
            </a:extLst>
          </p:cNvPr>
          <p:cNvSpPr txBox="1"/>
          <p:nvPr/>
        </p:nvSpPr>
        <p:spPr>
          <a:xfrm>
            <a:off x="432904" y="106018"/>
            <a:ext cx="6917634" cy="984885"/>
          </a:xfrm>
          <a:prstGeom prst="rect">
            <a:avLst/>
          </a:prstGeom>
          <a:solidFill>
            <a:schemeClr val="bg1"/>
          </a:solidFill>
        </p:spPr>
        <p:txBody>
          <a:bodyPr wrap="square" lIns="0" tIns="0" rIns="0" bIns="0" rtlCol="0">
            <a:spAutoFit/>
          </a:bodyPr>
          <a:lstStyle/>
          <a:p>
            <a:pPr algn="l"/>
            <a:r>
              <a:rPr lang="en-US" sz="3200" b="1" err="1">
                <a:gradFill>
                  <a:gsLst>
                    <a:gs pos="2917">
                      <a:schemeClr val="tx1"/>
                    </a:gs>
                    <a:gs pos="30000">
                      <a:schemeClr val="tx1"/>
                    </a:gs>
                  </a:gsLst>
                  <a:lin ang="5400000" scaled="0"/>
                </a:gradFill>
                <a:latin typeface="+mj-lt"/>
              </a:rPr>
              <a:t>MLOps</a:t>
            </a:r>
            <a:r>
              <a:rPr lang="en-US" sz="3200" b="1">
                <a:gradFill>
                  <a:gsLst>
                    <a:gs pos="2917">
                      <a:schemeClr val="tx1"/>
                    </a:gs>
                    <a:gs pos="30000">
                      <a:schemeClr val="tx1"/>
                    </a:gs>
                  </a:gsLst>
                  <a:lin ang="5400000" scaled="0"/>
                </a:gradFill>
                <a:latin typeface="+mj-lt"/>
              </a:rPr>
              <a:t>:  Model Lifecycle</a:t>
            </a:r>
          </a:p>
          <a:p>
            <a:pPr algn="l"/>
            <a:endParaRPr lang="en-US" sz="3200" b="1">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154488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5" name="Picture 4">
            <a:extLst>
              <a:ext uri="{FF2B5EF4-FFF2-40B4-BE49-F238E27FC236}">
                <a16:creationId xmlns:a16="http://schemas.microsoft.com/office/drawing/2014/main" id="{9C5A466C-BC51-4DB6-A603-9A19416ACDC8}"/>
              </a:ext>
            </a:extLst>
          </p:cNvPr>
          <p:cNvPicPr>
            <a:picLocks noChangeAspect="1"/>
          </p:cNvPicPr>
          <p:nvPr/>
        </p:nvPicPr>
        <p:blipFill>
          <a:blip r:embed="rId3"/>
          <a:stretch>
            <a:fillRect/>
          </a:stretch>
        </p:blipFill>
        <p:spPr>
          <a:xfrm>
            <a:off x="2578483" y="-3738"/>
            <a:ext cx="9262418" cy="6861738"/>
          </a:xfrm>
          <a:prstGeom prst="rect">
            <a:avLst/>
          </a:prstGeom>
        </p:spPr>
      </p:pic>
      <p:sp>
        <p:nvSpPr>
          <p:cNvPr id="6" name="Title 1">
            <a:extLst>
              <a:ext uri="{FF2B5EF4-FFF2-40B4-BE49-F238E27FC236}">
                <a16:creationId xmlns:a16="http://schemas.microsoft.com/office/drawing/2014/main" id="{C9F6625F-1B0F-4A6B-9078-DD840644A302}"/>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also requires sending data across the Legacy IaaS Network / Critical Data Zone barrier.  Further, the </a:t>
            </a:r>
            <a:r>
              <a:rPr lang="en-US" sz="1800" dirty="0" err="1"/>
              <a:t>KafkaConnect</a:t>
            </a:r>
            <a:r>
              <a:rPr lang="en-US" sz="1800" dirty="0"/>
              <a:t> would have to be configured / altered to attach to the </a:t>
            </a:r>
            <a:r>
              <a:rPr lang="en-US" sz="1800" dirty="0" err="1"/>
              <a:t>Kerberized</a:t>
            </a:r>
            <a:r>
              <a:rPr lang="en-US" sz="1800" dirty="0"/>
              <a:t> Kafka service</a:t>
            </a:r>
          </a:p>
        </p:txBody>
      </p:sp>
    </p:spTree>
    <p:extLst>
      <p:ext uri="{BB962C8B-B14F-4D97-AF65-F5344CB8AC3E}">
        <p14:creationId xmlns:p14="http://schemas.microsoft.com/office/powerpoint/2010/main" val="23424010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F2A6AD-8BEF-F349-BB22-D7F6D28B48CD}"/>
              </a:ext>
            </a:extLst>
          </p:cNvPr>
          <p:cNvSpPr>
            <a:spLocks noGrp="1"/>
          </p:cNvSpPr>
          <p:nvPr>
            <p:ph type="title"/>
          </p:nvPr>
        </p:nvSpPr>
        <p:spPr>
          <a:xfrm>
            <a:off x="476420" y="179545"/>
            <a:ext cx="11018520" cy="1107996"/>
          </a:xfrm>
        </p:spPr>
        <p:txBody>
          <a:bodyPr>
            <a:noAutofit/>
          </a:bodyPr>
          <a:lstStyle/>
          <a:p>
            <a:r>
              <a:rPr lang="en-US" sz="3200" dirty="0"/>
              <a:t>Integrated Pipeline for Data Scientists and Software Engineers</a:t>
            </a:r>
          </a:p>
        </p:txBody>
      </p:sp>
      <p:sp>
        <p:nvSpPr>
          <p:cNvPr id="7" name="Afgeronde rechthoek 57">
            <a:extLst>
              <a:ext uri="{FF2B5EF4-FFF2-40B4-BE49-F238E27FC236}">
                <a16:creationId xmlns:a16="http://schemas.microsoft.com/office/drawing/2014/main" id="{989740E5-B211-2940-B356-524646F002B8}"/>
              </a:ext>
            </a:extLst>
          </p:cNvPr>
          <p:cNvSpPr/>
          <p:nvPr/>
        </p:nvSpPr>
        <p:spPr bwMode="auto">
          <a:xfrm>
            <a:off x="9401301" y="2694564"/>
            <a:ext cx="2428744" cy="1355967"/>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Afgeronde rechthoek 22">
            <a:extLst>
              <a:ext uri="{FF2B5EF4-FFF2-40B4-BE49-F238E27FC236}">
                <a16:creationId xmlns:a16="http://schemas.microsoft.com/office/drawing/2014/main" id="{9079BA5B-031D-A74B-8565-202B21F05FB3}"/>
              </a:ext>
            </a:extLst>
          </p:cNvPr>
          <p:cNvSpPr/>
          <p:nvPr/>
        </p:nvSpPr>
        <p:spPr bwMode="auto">
          <a:xfrm>
            <a:off x="2014553" y="3289120"/>
            <a:ext cx="6622904" cy="2294164"/>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 name="Group 326">
            <a:extLst>
              <a:ext uri="{FF2B5EF4-FFF2-40B4-BE49-F238E27FC236}">
                <a16:creationId xmlns:a16="http://schemas.microsoft.com/office/drawing/2014/main" id="{82EB7F71-5166-2744-AE97-CF14722EA98B}"/>
              </a:ext>
            </a:extLst>
          </p:cNvPr>
          <p:cNvGrpSpPr>
            <a:grpSpLocks noChangeAspect="1"/>
          </p:cNvGrpSpPr>
          <p:nvPr/>
        </p:nvGrpSpPr>
        <p:grpSpPr bwMode="auto">
          <a:xfrm>
            <a:off x="251742" y="1814541"/>
            <a:ext cx="925120" cy="423988"/>
            <a:chOff x="6816" y="2557"/>
            <a:chExt cx="259" cy="136"/>
          </a:xfrm>
          <a:noFill/>
        </p:grpSpPr>
        <p:sp useBgFill="1">
          <p:nvSpPr>
            <p:cNvPr id="10" name="Freeform 328">
              <a:extLst>
                <a:ext uri="{FF2B5EF4-FFF2-40B4-BE49-F238E27FC236}">
                  <a16:creationId xmlns:a16="http://schemas.microsoft.com/office/drawing/2014/main" id="{2DA75343-9BBE-1C44-9D3F-AD8245587796}"/>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useBgFill="1">
          <p:nvSpPr>
            <p:cNvPr id="11" name="Rectangle 327">
              <a:extLst>
                <a:ext uri="{FF2B5EF4-FFF2-40B4-BE49-F238E27FC236}">
                  <a16:creationId xmlns:a16="http://schemas.microsoft.com/office/drawing/2014/main" id="{FB329EA4-7D26-3B40-BD68-22A502F93771}"/>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12" name="Picture 5">
            <a:extLst>
              <a:ext uri="{FF2B5EF4-FFF2-40B4-BE49-F238E27FC236}">
                <a16:creationId xmlns:a16="http://schemas.microsoft.com/office/drawing/2014/main" id="{14373626-7092-1B40-A4D3-0BDBED9C36F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50197" y="1468920"/>
            <a:ext cx="551407" cy="680801"/>
          </a:xfrm>
          <a:prstGeom prst="rect">
            <a:avLst/>
          </a:prstGeom>
        </p:spPr>
      </p:pic>
      <p:pic>
        <p:nvPicPr>
          <p:cNvPr id="13" name="Picture 4">
            <a:extLst>
              <a:ext uri="{FF2B5EF4-FFF2-40B4-BE49-F238E27FC236}">
                <a16:creationId xmlns:a16="http://schemas.microsoft.com/office/drawing/2014/main" id="{F4CEF4C4-BFB8-A242-A338-3D915CB850CF}"/>
              </a:ext>
            </a:extLst>
          </p:cNvPr>
          <p:cNvPicPr>
            <a:picLocks noChangeAspect="1"/>
          </p:cNvPicPr>
          <p:nvPr/>
        </p:nvPicPr>
        <p:blipFill>
          <a:blip r:embed="rId4"/>
          <a:stretch>
            <a:fillRect/>
          </a:stretch>
        </p:blipFill>
        <p:spPr>
          <a:xfrm>
            <a:off x="3400097" y="1468920"/>
            <a:ext cx="839512" cy="909886"/>
          </a:xfrm>
          <a:prstGeom prst="rect">
            <a:avLst/>
          </a:prstGeom>
        </p:spPr>
      </p:pic>
      <p:pic>
        <p:nvPicPr>
          <p:cNvPr id="14" name="Afbeelding 10">
            <a:extLst>
              <a:ext uri="{FF2B5EF4-FFF2-40B4-BE49-F238E27FC236}">
                <a16:creationId xmlns:a16="http://schemas.microsoft.com/office/drawing/2014/main" id="{A818A49A-D81F-DF43-B507-49F56A0E5464}"/>
              </a:ext>
            </a:extLst>
          </p:cNvPr>
          <p:cNvPicPr>
            <a:picLocks noChangeAspect="1"/>
          </p:cNvPicPr>
          <p:nvPr/>
        </p:nvPicPr>
        <p:blipFill>
          <a:blip r:embed="rId5"/>
          <a:stretch>
            <a:fillRect/>
          </a:stretch>
        </p:blipFill>
        <p:spPr>
          <a:xfrm>
            <a:off x="175934" y="3540479"/>
            <a:ext cx="1076736" cy="861389"/>
          </a:xfrm>
          <a:prstGeom prst="rect">
            <a:avLst/>
          </a:prstGeom>
        </p:spPr>
      </p:pic>
      <p:pic>
        <p:nvPicPr>
          <p:cNvPr id="15" name="Afbeelding 11">
            <a:extLst>
              <a:ext uri="{FF2B5EF4-FFF2-40B4-BE49-F238E27FC236}">
                <a16:creationId xmlns:a16="http://schemas.microsoft.com/office/drawing/2014/main" id="{EE04AEA3-DF31-4049-BE7E-01F9633E4541}"/>
              </a:ext>
            </a:extLst>
          </p:cNvPr>
          <p:cNvPicPr>
            <a:picLocks noChangeAspect="1"/>
          </p:cNvPicPr>
          <p:nvPr/>
        </p:nvPicPr>
        <p:blipFill>
          <a:blip r:embed="rId6"/>
          <a:stretch>
            <a:fillRect/>
          </a:stretch>
        </p:blipFill>
        <p:spPr>
          <a:xfrm>
            <a:off x="1864253" y="2823917"/>
            <a:ext cx="776369" cy="776369"/>
          </a:xfrm>
          <a:prstGeom prst="rect">
            <a:avLst/>
          </a:prstGeom>
          <a:noFill/>
        </p:spPr>
      </p:pic>
      <p:cxnSp>
        <p:nvCxnSpPr>
          <p:cNvPr id="16" name="Straight Arrow Connector 15">
            <a:extLst>
              <a:ext uri="{FF2B5EF4-FFF2-40B4-BE49-F238E27FC236}">
                <a16:creationId xmlns:a16="http://schemas.microsoft.com/office/drawing/2014/main" id="{6C288B34-4212-7649-A297-7C4BF58F0C9B}"/>
              </a:ext>
            </a:extLst>
          </p:cNvPr>
          <p:cNvCxnSpPr>
            <a:cxnSpLocks/>
          </p:cNvCxnSpPr>
          <p:nvPr/>
        </p:nvCxnSpPr>
        <p:spPr>
          <a:xfrm>
            <a:off x="714302" y="2572754"/>
            <a:ext cx="0" cy="66243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5">
            <a:extLst>
              <a:ext uri="{FF2B5EF4-FFF2-40B4-BE49-F238E27FC236}">
                <a16:creationId xmlns:a16="http://schemas.microsoft.com/office/drawing/2014/main" id="{3DCB6D08-5556-F845-AF24-EB03EDA23F44}"/>
              </a:ext>
            </a:extLst>
          </p:cNvPr>
          <p:cNvCxnSpPr>
            <a:cxnSpLocks/>
            <a:stCxn id="14" idx="3"/>
          </p:cNvCxnSpPr>
          <p:nvPr/>
        </p:nvCxnSpPr>
        <p:spPr>
          <a:xfrm>
            <a:off x="1252670" y="3971174"/>
            <a:ext cx="74387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79">
            <a:extLst>
              <a:ext uri="{FF2B5EF4-FFF2-40B4-BE49-F238E27FC236}">
                <a16:creationId xmlns:a16="http://schemas.microsoft.com/office/drawing/2014/main" id="{444C7403-AA54-284E-8CA9-443ECD826EE2}"/>
              </a:ext>
            </a:extLst>
          </p:cNvPr>
          <p:cNvSpPr txBox="1"/>
          <p:nvPr/>
        </p:nvSpPr>
        <p:spPr>
          <a:xfrm>
            <a:off x="773584" y="2482330"/>
            <a:ext cx="1192654" cy="80095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Version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hanges</a:t>
            </a:r>
          </a:p>
        </p:txBody>
      </p:sp>
      <p:sp>
        <p:nvSpPr>
          <p:cNvPr id="20" name="TextBox 79">
            <a:extLst>
              <a:ext uri="{FF2B5EF4-FFF2-40B4-BE49-F238E27FC236}">
                <a16:creationId xmlns:a16="http://schemas.microsoft.com/office/drawing/2014/main" id="{2C12F5FC-4D9C-C241-B16A-D3DB3D05329D}"/>
              </a:ext>
            </a:extLst>
          </p:cNvPr>
          <p:cNvSpPr txBox="1"/>
          <p:nvPr/>
        </p:nvSpPr>
        <p:spPr>
          <a:xfrm>
            <a:off x="8586218" y="4484844"/>
            <a:ext cx="2908722" cy="50683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ploy (Prod)</a:t>
            </a:r>
          </a:p>
        </p:txBody>
      </p:sp>
      <p:pic>
        <p:nvPicPr>
          <p:cNvPr id="21" name="Picture 13">
            <a:extLst>
              <a:ext uri="{FF2B5EF4-FFF2-40B4-BE49-F238E27FC236}">
                <a16:creationId xmlns:a16="http://schemas.microsoft.com/office/drawing/2014/main" id="{0C97FD21-2A41-CB40-8A3A-3DD94C7A34D6}"/>
              </a:ext>
            </a:extLst>
          </p:cNvPr>
          <p:cNvPicPr>
            <a:picLocks noChangeAspect="1"/>
          </p:cNvPicPr>
          <p:nvPr/>
        </p:nvPicPr>
        <p:blipFill>
          <a:blip r:embed="rId7"/>
          <a:stretch>
            <a:fillRect/>
          </a:stretch>
        </p:blipFill>
        <p:spPr>
          <a:xfrm>
            <a:off x="10640928" y="2708774"/>
            <a:ext cx="898744" cy="1154564"/>
          </a:xfrm>
          <a:prstGeom prst="rect">
            <a:avLst/>
          </a:prstGeom>
        </p:spPr>
      </p:pic>
      <p:pic>
        <p:nvPicPr>
          <p:cNvPr id="22" name="Afbeelding 69">
            <a:extLst>
              <a:ext uri="{FF2B5EF4-FFF2-40B4-BE49-F238E27FC236}">
                <a16:creationId xmlns:a16="http://schemas.microsoft.com/office/drawing/2014/main" id="{153C30A4-67FA-9840-8675-250C28757CD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40827" y="2890289"/>
            <a:ext cx="800100" cy="647700"/>
          </a:xfrm>
          <a:prstGeom prst="rect">
            <a:avLst/>
          </a:prstGeom>
        </p:spPr>
      </p:pic>
      <p:sp>
        <p:nvSpPr>
          <p:cNvPr id="23" name="TextBox 79">
            <a:extLst>
              <a:ext uri="{FF2B5EF4-FFF2-40B4-BE49-F238E27FC236}">
                <a16:creationId xmlns:a16="http://schemas.microsoft.com/office/drawing/2014/main" id="{7D7DBC89-0C5A-FA47-B83F-CF614A89A766}"/>
              </a:ext>
            </a:extLst>
          </p:cNvPr>
          <p:cNvSpPr txBox="1"/>
          <p:nvPr/>
        </p:nvSpPr>
        <p:spPr>
          <a:xfrm>
            <a:off x="4198714" y="1922614"/>
            <a:ext cx="2223235" cy="724007"/>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xperimentation Service – Train Model</a:t>
            </a:r>
          </a:p>
        </p:txBody>
      </p:sp>
      <p:cxnSp>
        <p:nvCxnSpPr>
          <p:cNvPr id="24" name="Straight Arrow Connector 49">
            <a:extLst>
              <a:ext uri="{FF2B5EF4-FFF2-40B4-BE49-F238E27FC236}">
                <a16:creationId xmlns:a16="http://schemas.microsoft.com/office/drawing/2014/main" id="{449ED784-0C54-0A4A-83DF-0A5DD9C312F8}"/>
              </a:ext>
            </a:extLst>
          </p:cNvPr>
          <p:cNvCxnSpPr>
            <a:cxnSpLocks/>
          </p:cNvCxnSpPr>
          <p:nvPr/>
        </p:nvCxnSpPr>
        <p:spPr>
          <a:xfrm>
            <a:off x="1654790" y="1987507"/>
            <a:ext cx="1459830" cy="10655"/>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Afgeronde rechthoek 57">
            <a:extLst>
              <a:ext uri="{FF2B5EF4-FFF2-40B4-BE49-F238E27FC236}">
                <a16:creationId xmlns:a16="http://schemas.microsoft.com/office/drawing/2014/main" id="{7FDF2811-E77C-D04C-9201-F574AFCF584B}"/>
              </a:ext>
            </a:extLst>
          </p:cNvPr>
          <p:cNvSpPr/>
          <p:nvPr/>
        </p:nvSpPr>
        <p:spPr bwMode="auto">
          <a:xfrm>
            <a:off x="9403461" y="5044833"/>
            <a:ext cx="2426584" cy="1355967"/>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 name="Picture 13">
            <a:extLst>
              <a:ext uri="{FF2B5EF4-FFF2-40B4-BE49-F238E27FC236}">
                <a16:creationId xmlns:a16="http://schemas.microsoft.com/office/drawing/2014/main" id="{1597A81A-DF5B-0F49-9118-E960E1CECDE5}"/>
              </a:ext>
            </a:extLst>
          </p:cNvPr>
          <p:cNvPicPr>
            <a:picLocks noChangeAspect="1"/>
          </p:cNvPicPr>
          <p:nvPr/>
        </p:nvPicPr>
        <p:blipFill>
          <a:blip r:embed="rId7"/>
          <a:stretch>
            <a:fillRect/>
          </a:stretch>
        </p:blipFill>
        <p:spPr>
          <a:xfrm>
            <a:off x="10574072" y="5049810"/>
            <a:ext cx="909103" cy="1171582"/>
          </a:xfrm>
          <a:prstGeom prst="rect">
            <a:avLst/>
          </a:prstGeom>
        </p:spPr>
      </p:pic>
      <p:pic>
        <p:nvPicPr>
          <p:cNvPr id="27" name="Afbeelding 69">
            <a:extLst>
              <a:ext uri="{FF2B5EF4-FFF2-40B4-BE49-F238E27FC236}">
                <a16:creationId xmlns:a16="http://schemas.microsoft.com/office/drawing/2014/main" id="{17284382-DF07-1B41-AA14-98AD2C55D1F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3972" y="5248342"/>
            <a:ext cx="800100" cy="647700"/>
          </a:xfrm>
          <a:prstGeom prst="rect">
            <a:avLst/>
          </a:prstGeom>
        </p:spPr>
      </p:pic>
      <p:cxnSp>
        <p:nvCxnSpPr>
          <p:cNvPr id="28" name="Straight Arrow Connector 15">
            <a:extLst>
              <a:ext uri="{FF2B5EF4-FFF2-40B4-BE49-F238E27FC236}">
                <a16:creationId xmlns:a16="http://schemas.microsoft.com/office/drawing/2014/main" id="{4DEDA5B7-0404-6B4F-802A-532A6BE3E231}"/>
              </a:ext>
            </a:extLst>
          </p:cNvPr>
          <p:cNvCxnSpPr>
            <a:cxnSpLocks/>
          </p:cNvCxnSpPr>
          <p:nvPr/>
        </p:nvCxnSpPr>
        <p:spPr>
          <a:xfrm>
            <a:off x="8662293" y="4875403"/>
            <a:ext cx="562929" cy="2534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15">
            <a:extLst>
              <a:ext uri="{FF2B5EF4-FFF2-40B4-BE49-F238E27FC236}">
                <a16:creationId xmlns:a16="http://schemas.microsoft.com/office/drawing/2014/main" id="{229FA160-60F0-9541-B21E-9858C671829C}"/>
              </a:ext>
            </a:extLst>
          </p:cNvPr>
          <p:cNvCxnSpPr>
            <a:cxnSpLocks/>
          </p:cNvCxnSpPr>
          <p:nvPr/>
        </p:nvCxnSpPr>
        <p:spPr>
          <a:xfrm flipV="1">
            <a:off x="8708822" y="3204072"/>
            <a:ext cx="516400" cy="2521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79">
            <a:extLst>
              <a:ext uri="{FF2B5EF4-FFF2-40B4-BE49-F238E27FC236}">
                <a16:creationId xmlns:a16="http://schemas.microsoft.com/office/drawing/2014/main" id="{A6388783-3690-1746-BA94-3FABFBA200FB}"/>
              </a:ext>
            </a:extLst>
          </p:cNvPr>
          <p:cNvSpPr txBox="1"/>
          <p:nvPr/>
        </p:nvSpPr>
        <p:spPr>
          <a:xfrm>
            <a:off x="7946940" y="2694564"/>
            <a:ext cx="2908722" cy="50683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ploy (Test)</a:t>
            </a:r>
          </a:p>
        </p:txBody>
      </p:sp>
      <p:pic>
        <p:nvPicPr>
          <p:cNvPr id="31" name="Picture 30">
            <a:extLst>
              <a:ext uri="{FF2B5EF4-FFF2-40B4-BE49-F238E27FC236}">
                <a16:creationId xmlns:a16="http://schemas.microsoft.com/office/drawing/2014/main" id="{70FA7309-1CF5-9449-914E-11C6FEF9648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14984" y="5732563"/>
            <a:ext cx="1354796" cy="652309"/>
          </a:xfrm>
          <a:prstGeom prst="rect">
            <a:avLst/>
          </a:prstGeom>
        </p:spPr>
      </p:pic>
      <p:pic>
        <p:nvPicPr>
          <p:cNvPr id="32" name="Picture 4" descr="https://azure.microsoft.com/svghandler/container-instances/?width=600&amp;amp;height=315">
            <a:extLst>
              <a:ext uri="{FF2B5EF4-FFF2-40B4-BE49-F238E27FC236}">
                <a16:creationId xmlns:a16="http://schemas.microsoft.com/office/drawing/2014/main" id="{8EFFE64E-1F82-7842-B8EF-3F3B39CF434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15101" y="3709818"/>
            <a:ext cx="644769" cy="641545"/>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49">
            <a:extLst>
              <a:ext uri="{FF2B5EF4-FFF2-40B4-BE49-F238E27FC236}">
                <a16:creationId xmlns:a16="http://schemas.microsoft.com/office/drawing/2014/main" id="{31BCEC53-391F-F643-BCCD-A4196D750D2E}"/>
              </a:ext>
            </a:extLst>
          </p:cNvPr>
          <p:cNvCxnSpPr>
            <a:cxnSpLocks/>
          </p:cNvCxnSpPr>
          <p:nvPr/>
        </p:nvCxnSpPr>
        <p:spPr>
          <a:xfrm flipH="1">
            <a:off x="3849784" y="2415565"/>
            <a:ext cx="7449" cy="700103"/>
          </a:xfrm>
          <a:prstGeom prst="straightConnector1">
            <a:avLst/>
          </a:prstGeom>
          <a:ln w="9525" cap="flat" cmpd="sng" algn="ctr">
            <a:solidFill>
              <a:schemeClr val="dk1"/>
            </a:solidFill>
            <a:prstDash val="lgDash"/>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5" name="Tekstvak 50">
            <a:extLst>
              <a:ext uri="{FF2B5EF4-FFF2-40B4-BE49-F238E27FC236}">
                <a16:creationId xmlns:a16="http://schemas.microsoft.com/office/drawing/2014/main" id="{96C15E43-27E1-C549-9DC8-686BC8E91307}"/>
              </a:ext>
            </a:extLst>
          </p:cNvPr>
          <p:cNvSpPr txBox="1"/>
          <p:nvPr/>
        </p:nvSpPr>
        <p:spPr>
          <a:xfrm>
            <a:off x="2843551" y="4195175"/>
            <a:ext cx="15585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est</a:t>
            </a:r>
          </a:p>
        </p:txBody>
      </p:sp>
      <p:sp>
        <p:nvSpPr>
          <p:cNvPr id="36" name="Tekstvak 51">
            <a:extLst>
              <a:ext uri="{FF2B5EF4-FFF2-40B4-BE49-F238E27FC236}">
                <a16:creationId xmlns:a16="http://schemas.microsoft.com/office/drawing/2014/main" id="{A1B96126-B187-2147-9821-D055EC3ADD46}"/>
              </a:ext>
            </a:extLst>
          </p:cNvPr>
          <p:cNvSpPr txBox="1"/>
          <p:nvPr/>
        </p:nvSpPr>
        <p:spPr>
          <a:xfrm>
            <a:off x="4186427" y="4226043"/>
            <a:ext cx="1593460"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ain Model</a:t>
            </a:r>
          </a:p>
        </p:txBody>
      </p:sp>
      <p:pic>
        <p:nvPicPr>
          <p:cNvPr id="37" name="Afbeelding 2">
            <a:extLst>
              <a:ext uri="{FF2B5EF4-FFF2-40B4-BE49-F238E27FC236}">
                <a16:creationId xmlns:a16="http://schemas.microsoft.com/office/drawing/2014/main" id="{B95485C5-BE3D-2A40-9821-58DC253E62FB}"/>
              </a:ext>
            </a:extLst>
          </p:cNvPr>
          <p:cNvPicPr>
            <a:picLocks noChangeAspect="1"/>
          </p:cNvPicPr>
          <p:nvPr/>
        </p:nvPicPr>
        <p:blipFill>
          <a:blip r:embed="rId11"/>
          <a:stretch>
            <a:fillRect/>
          </a:stretch>
        </p:blipFill>
        <p:spPr>
          <a:xfrm>
            <a:off x="3217805" y="3738496"/>
            <a:ext cx="948747" cy="479024"/>
          </a:xfrm>
          <a:prstGeom prst="rect">
            <a:avLst/>
          </a:prstGeom>
        </p:spPr>
      </p:pic>
      <p:pic>
        <p:nvPicPr>
          <p:cNvPr id="38" name="Afbeelding 8">
            <a:extLst>
              <a:ext uri="{FF2B5EF4-FFF2-40B4-BE49-F238E27FC236}">
                <a16:creationId xmlns:a16="http://schemas.microsoft.com/office/drawing/2014/main" id="{55B3EEFC-2FC2-9C46-B639-F96973C5FCD5}"/>
              </a:ext>
            </a:extLst>
          </p:cNvPr>
          <p:cNvPicPr>
            <a:picLocks noChangeAspect="1"/>
          </p:cNvPicPr>
          <p:nvPr/>
        </p:nvPicPr>
        <p:blipFill>
          <a:blip r:embed="rId12"/>
          <a:stretch>
            <a:fillRect/>
          </a:stretch>
        </p:blipFill>
        <p:spPr>
          <a:xfrm>
            <a:off x="4448778" y="3651878"/>
            <a:ext cx="967341" cy="507854"/>
          </a:xfrm>
          <a:prstGeom prst="rect">
            <a:avLst/>
          </a:prstGeom>
        </p:spPr>
      </p:pic>
      <p:sp>
        <p:nvSpPr>
          <p:cNvPr id="39" name="Tekstvak 50">
            <a:extLst>
              <a:ext uri="{FF2B5EF4-FFF2-40B4-BE49-F238E27FC236}">
                <a16:creationId xmlns:a16="http://schemas.microsoft.com/office/drawing/2014/main" id="{C400D3FC-D80D-7749-A3A7-FCB83171A35D}"/>
              </a:ext>
            </a:extLst>
          </p:cNvPr>
          <p:cNvSpPr txBox="1"/>
          <p:nvPr/>
        </p:nvSpPr>
        <p:spPr>
          <a:xfrm>
            <a:off x="5556698" y="4268756"/>
            <a:ext cx="173050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del sanity test</a:t>
            </a:r>
          </a:p>
        </p:txBody>
      </p:sp>
      <p:pic>
        <p:nvPicPr>
          <p:cNvPr id="40" name="Afbeelding 2">
            <a:extLst>
              <a:ext uri="{FF2B5EF4-FFF2-40B4-BE49-F238E27FC236}">
                <a16:creationId xmlns:a16="http://schemas.microsoft.com/office/drawing/2014/main" id="{749F7FB1-4AED-0045-B84F-B6DF78242015}"/>
              </a:ext>
            </a:extLst>
          </p:cNvPr>
          <p:cNvPicPr>
            <a:picLocks noChangeAspect="1"/>
          </p:cNvPicPr>
          <p:nvPr/>
        </p:nvPicPr>
        <p:blipFill>
          <a:blip r:embed="rId11"/>
          <a:stretch>
            <a:fillRect/>
          </a:stretch>
        </p:blipFill>
        <p:spPr>
          <a:xfrm>
            <a:off x="5799195" y="3666293"/>
            <a:ext cx="948747" cy="479024"/>
          </a:xfrm>
          <a:prstGeom prst="rect">
            <a:avLst/>
          </a:prstGeom>
        </p:spPr>
      </p:pic>
      <p:grpSp>
        <p:nvGrpSpPr>
          <p:cNvPr id="41" name="Group 326">
            <a:extLst>
              <a:ext uri="{FF2B5EF4-FFF2-40B4-BE49-F238E27FC236}">
                <a16:creationId xmlns:a16="http://schemas.microsoft.com/office/drawing/2014/main" id="{DDAFDF59-2A33-D14A-9546-DBBBAE6AFE39}"/>
              </a:ext>
            </a:extLst>
          </p:cNvPr>
          <p:cNvGrpSpPr>
            <a:grpSpLocks noChangeAspect="1"/>
          </p:cNvGrpSpPr>
          <p:nvPr/>
        </p:nvGrpSpPr>
        <p:grpSpPr bwMode="auto">
          <a:xfrm>
            <a:off x="287637" y="6073845"/>
            <a:ext cx="925120" cy="423987"/>
            <a:chOff x="6816" y="2557"/>
            <a:chExt cx="259" cy="136"/>
          </a:xfrm>
          <a:noFill/>
        </p:grpSpPr>
        <p:sp useBgFill="1">
          <p:nvSpPr>
            <p:cNvPr id="42" name="Freeform 328">
              <a:extLst>
                <a:ext uri="{FF2B5EF4-FFF2-40B4-BE49-F238E27FC236}">
                  <a16:creationId xmlns:a16="http://schemas.microsoft.com/office/drawing/2014/main" id="{5067C8C8-3406-244E-81F2-F864CD6422DE}"/>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useBgFill="1">
          <p:nvSpPr>
            <p:cNvPr id="43" name="Rectangle 327">
              <a:extLst>
                <a:ext uri="{FF2B5EF4-FFF2-40B4-BE49-F238E27FC236}">
                  <a16:creationId xmlns:a16="http://schemas.microsoft.com/office/drawing/2014/main" id="{7FCA6330-88F3-4A46-B134-2F4D4FDCA804}"/>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4" name="Afbeelding 8">
            <a:extLst>
              <a:ext uri="{FF2B5EF4-FFF2-40B4-BE49-F238E27FC236}">
                <a16:creationId xmlns:a16="http://schemas.microsoft.com/office/drawing/2014/main" id="{65463F58-47ED-7446-8B40-25D5948895A5}"/>
              </a:ext>
            </a:extLst>
          </p:cNvPr>
          <p:cNvPicPr>
            <a:picLocks noChangeAspect="1"/>
          </p:cNvPicPr>
          <p:nvPr/>
        </p:nvPicPr>
        <p:blipFill>
          <a:blip r:embed="rId12"/>
          <a:stretch>
            <a:fillRect/>
          </a:stretch>
        </p:blipFill>
        <p:spPr>
          <a:xfrm>
            <a:off x="876594" y="5802797"/>
            <a:ext cx="752151" cy="394879"/>
          </a:xfrm>
          <a:prstGeom prst="rect">
            <a:avLst/>
          </a:prstGeom>
        </p:spPr>
      </p:pic>
      <p:cxnSp>
        <p:nvCxnSpPr>
          <p:cNvPr id="45" name="Straight Arrow Connector 44">
            <a:extLst>
              <a:ext uri="{FF2B5EF4-FFF2-40B4-BE49-F238E27FC236}">
                <a16:creationId xmlns:a16="http://schemas.microsoft.com/office/drawing/2014/main" id="{89F83137-4B16-9940-B481-09D1B5045D6A}"/>
              </a:ext>
            </a:extLst>
          </p:cNvPr>
          <p:cNvCxnSpPr>
            <a:cxnSpLocks/>
          </p:cNvCxnSpPr>
          <p:nvPr/>
        </p:nvCxnSpPr>
        <p:spPr>
          <a:xfrm flipV="1">
            <a:off x="750197" y="4605648"/>
            <a:ext cx="0" cy="13945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79">
            <a:extLst>
              <a:ext uri="{FF2B5EF4-FFF2-40B4-BE49-F238E27FC236}">
                <a16:creationId xmlns:a16="http://schemas.microsoft.com/office/drawing/2014/main" id="{C1A76648-71A8-A04C-B676-B83DE47800DF}"/>
              </a:ext>
            </a:extLst>
          </p:cNvPr>
          <p:cNvSpPr txBox="1"/>
          <p:nvPr/>
        </p:nvSpPr>
        <p:spPr>
          <a:xfrm>
            <a:off x="732780" y="4782335"/>
            <a:ext cx="1192654" cy="80095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Version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hanges</a:t>
            </a:r>
          </a:p>
        </p:txBody>
      </p:sp>
      <p:pic>
        <p:nvPicPr>
          <p:cNvPr id="46" name="Afbeelding 2">
            <a:extLst>
              <a:ext uri="{FF2B5EF4-FFF2-40B4-BE49-F238E27FC236}">
                <a16:creationId xmlns:a16="http://schemas.microsoft.com/office/drawing/2014/main" id="{5DCD89FE-EDD3-4FAD-BCDB-2BE08FC36EAB}"/>
              </a:ext>
            </a:extLst>
          </p:cNvPr>
          <p:cNvPicPr>
            <a:picLocks noChangeAspect="1"/>
          </p:cNvPicPr>
          <p:nvPr/>
        </p:nvPicPr>
        <p:blipFill>
          <a:blip r:embed="rId11"/>
          <a:stretch>
            <a:fillRect/>
          </a:stretch>
        </p:blipFill>
        <p:spPr>
          <a:xfrm>
            <a:off x="7437248" y="3675060"/>
            <a:ext cx="948747" cy="479024"/>
          </a:xfrm>
          <a:prstGeom prst="rect">
            <a:avLst/>
          </a:prstGeom>
        </p:spPr>
      </p:pic>
      <p:sp>
        <p:nvSpPr>
          <p:cNvPr id="47" name="Tekstvak 50">
            <a:extLst>
              <a:ext uri="{FF2B5EF4-FFF2-40B4-BE49-F238E27FC236}">
                <a16:creationId xmlns:a16="http://schemas.microsoft.com/office/drawing/2014/main" id="{7425169D-94F4-47F3-846E-3BA2BFD0F8A4}"/>
              </a:ext>
            </a:extLst>
          </p:cNvPr>
          <p:cNvSpPr txBox="1"/>
          <p:nvPr/>
        </p:nvSpPr>
        <p:spPr>
          <a:xfrm>
            <a:off x="7000139" y="4261264"/>
            <a:ext cx="173050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del offline evaluation test</a:t>
            </a:r>
          </a:p>
        </p:txBody>
      </p:sp>
      <p:cxnSp>
        <p:nvCxnSpPr>
          <p:cNvPr id="49" name="Straight Arrow Connector 15">
            <a:extLst>
              <a:ext uri="{FF2B5EF4-FFF2-40B4-BE49-F238E27FC236}">
                <a16:creationId xmlns:a16="http://schemas.microsoft.com/office/drawing/2014/main" id="{370851B3-E687-4D2D-9199-3F5E3351EC4A}"/>
              </a:ext>
            </a:extLst>
          </p:cNvPr>
          <p:cNvCxnSpPr>
            <a:cxnSpLocks/>
          </p:cNvCxnSpPr>
          <p:nvPr/>
        </p:nvCxnSpPr>
        <p:spPr>
          <a:xfrm flipV="1">
            <a:off x="4149260" y="3905805"/>
            <a:ext cx="381972" cy="87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15">
            <a:extLst>
              <a:ext uri="{FF2B5EF4-FFF2-40B4-BE49-F238E27FC236}">
                <a16:creationId xmlns:a16="http://schemas.microsoft.com/office/drawing/2014/main" id="{AFEAEB09-517C-44AF-9C18-11DCDD551B31}"/>
              </a:ext>
            </a:extLst>
          </p:cNvPr>
          <p:cNvCxnSpPr>
            <a:cxnSpLocks/>
          </p:cNvCxnSpPr>
          <p:nvPr/>
        </p:nvCxnSpPr>
        <p:spPr>
          <a:xfrm>
            <a:off x="5326005" y="3863338"/>
            <a:ext cx="35073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15">
            <a:extLst>
              <a:ext uri="{FF2B5EF4-FFF2-40B4-BE49-F238E27FC236}">
                <a16:creationId xmlns:a16="http://schemas.microsoft.com/office/drawing/2014/main" id="{17CD44E1-5CFE-4CD0-8397-BE9625FE6A00}"/>
              </a:ext>
            </a:extLst>
          </p:cNvPr>
          <p:cNvCxnSpPr>
            <a:cxnSpLocks/>
          </p:cNvCxnSpPr>
          <p:nvPr/>
        </p:nvCxnSpPr>
        <p:spPr>
          <a:xfrm>
            <a:off x="6833460" y="3863338"/>
            <a:ext cx="55547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15">
            <a:extLst>
              <a:ext uri="{FF2B5EF4-FFF2-40B4-BE49-F238E27FC236}">
                <a16:creationId xmlns:a16="http://schemas.microsoft.com/office/drawing/2014/main" id="{8B2D70FE-2CC8-4F57-9203-B177E2322E42}"/>
              </a:ext>
            </a:extLst>
          </p:cNvPr>
          <p:cNvCxnSpPr>
            <a:cxnSpLocks/>
          </p:cNvCxnSpPr>
          <p:nvPr/>
        </p:nvCxnSpPr>
        <p:spPr>
          <a:xfrm flipV="1">
            <a:off x="2891827" y="3916678"/>
            <a:ext cx="381972" cy="87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kstvak 50">
            <a:extLst>
              <a:ext uri="{FF2B5EF4-FFF2-40B4-BE49-F238E27FC236}">
                <a16:creationId xmlns:a16="http://schemas.microsoft.com/office/drawing/2014/main" id="{FDA3D3C7-CBC7-4225-AB51-BFCA5EDD1BCA}"/>
              </a:ext>
            </a:extLst>
          </p:cNvPr>
          <p:cNvSpPr txBox="1"/>
          <p:nvPr/>
        </p:nvSpPr>
        <p:spPr>
          <a:xfrm>
            <a:off x="4186361" y="4999928"/>
            <a:ext cx="173050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Integration test</a:t>
            </a:r>
          </a:p>
        </p:txBody>
      </p:sp>
      <p:cxnSp>
        <p:nvCxnSpPr>
          <p:cNvPr id="54" name="Straight Arrow Connector 15">
            <a:extLst>
              <a:ext uri="{FF2B5EF4-FFF2-40B4-BE49-F238E27FC236}">
                <a16:creationId xmlns:a16="http://schemas.microsoft.com/office/drawing/2014/main" id="{F9176F18-DB9B-41B6-A909-46D3CD1C0600}"/>
              </a:ext>
            </a:extLst>
          </p:cNvPr>
          <p:cNvCxnSpPr>
            <a:cxnSpLocks/>
          </p:cNvCxnSpPr>
          <p:nvPr/>
        </p:nvCxnSpPr>
        <p:spPr>
          <a:xfrm>
            <a:off x="4186427" y="4162852"/>
            <a:ext cx="215676" cy="84749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15">
            <a:extLst>
              <a:ext uri="{FF2B5EF4-FFF2-40B4-BE49-F238E27FC236}">
                <a16:creationId xmlns:a16="http://schemas.microsoft.com/office/drawing/2014/main" id="{2DD019DD-43DA-477A-A0EA-AAE9765A718B}"/>
              </a:ext>
            </a:extLst>
          </p:cNvPr>
          <p:cNvCxnSpPr>
            <a:cxnSpLocks/>
          </p:cNvCxnSpPr>
          <p:nvPr/>
        </p:nvCxnSpPr>
        <p:spPr>
          <a:xfrm flipV="1">
            <a:off x="5701121" y="4268757"/>
            <a:ext cx="127575" cy="7858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ekstvak 50">
            <a:extLst>
              <a:ext uri="{FF2B5EF4-FFF2-40B4-BE49-F238E27FC236}">
                <a16:creationId xmlns:a16="http://schemas.microsoft.com/office/drawing/2014/main" id="{4FC330A1-D75A-4854-B5DB-2253B5AC3F02}"/>
              </a:ext>
            </a:extLst>
          </p:cNvPr>
          <p:cNvSpPr txBox="1"/>
          <p:nvPr/>
        </p:nvSpPr>
        <p:spPr>
          <a:xfrm>
            <a:off x="1149494" y="6142267"/>
            <a:ext cx="1730502"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oftware engineer</a:t>
            </a:r>
          </a:p>
        </p:txBody>
      </p:sp>
      <p:sp>
        <p:nvSpPr>
          <p:cNvPr id="60" name="Tekstvak 50">
            <a:extLst>
              <a:ext uri="{FF2B5EF4-FFF2-40B4-BE49-F238E27FC236}">
                <a16:creationId xmlns:a16="http://schemas.microsoft.com/office/drawing/2014/main" id="{9DD88A53-3103-4AAA-A305-0BCAA5DF2EDF}"/>
              </a:ext>
            </a:extLst>
          </p:cNvPr>
          <p:cNvSpPr txBox="1"/>
          <p:nvPr/>
        </p:nvSpPr>
        <p:spPr>
          <a:xfrm>
            <a:off x="3959984" y="1288431"/>
            <a:ext cx="2313584" cy="5724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scientist</a:t>
            </a:r>
          </a:p>
        </p:txBody>
      </p:sp>
      <p:sp>
        <p:nvSpPr>
          <p:cNvPr id="61" name="Tekstvak 50">
            <a:extLst>
              <a:ext uri="{FF2B5EF4-FFF2-40B4-BE49-F238E27FC236}">
                <a16:creationId xmlns:a16="http://schemas.microsoft.com/office/drawing/2014/main" id="{E866CF02-134F-42D5-93B9-DB673EB73F5B}"/>
              </a:ext>
            </a:extLst>
          </p:cNvPr>
          <p:cNvSpPr txBox="1"/>
          <p:nvPr/>
        </p:nvSpPr>
        <p:spPr>
          <a:xfrm>
            <a:off x="3507946" y="5543853"/>
            <a:ext cx="335632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400" b="0" i="0" u="none" strike="noStrike" kern="1200" cap="none" spc="0" normalizeH="0" baseline="0" noProof="0">
                <a:ln>
                  <a:noFill/>
                </a:ln>
                <a:solidFill>
                  <a:srgbClr val="C00000"/>
                </a:solidFill>
                <a:effectLst/>
                <a:uLnTx/>
                <a:uFillTx/>
                <a:latin typeface="Segoe UI Semilight"/>
                <a:ea typeface="+mn-ea"/>
                <a:cs typeface="+mn-cs"/>
              </a:rPr>
              <a:t>Build pipeline</a:t>
            </a:r>
          </a:p>
        </p:txBody>
      </p:sp>
      <p:pic>
        <p:nvPicPr>
          <p:cNvPr id="62" name="Afbeelding 2">
            <a:extLst>
              <a:ext uri="{FF2B5EF4-FFF2-40B4-BE49-F238E27FC236}">
                <a16:creationId xmlns:a16="http://schemas.microsoft.com/office/drawing/2014/main" id="{861011C5-D89E-4D16-96CB-BFAC5ED04A2C}"/>
              </a:ext>
            </a:extLst>
          </p:cNvPr>
          <p:cNvPicPr>
            <a:picLocks noChangeAspect="1"/>
          </p:cNvPicPr>
          <p:nvPr/>
        </p:nvPicPr>
        <p:blipFill>
          <a:blip r:embed="rId11"/>
          <a:stretch>
            <a:fillRect/>
          </a:stretch>
        </p:blipFill>
        <p:spPr>
          <a:xfrm>
            <a:off x="2006619" y="3749635"/>
            <a:ext cx="948747" cy="479024"/>
          </a:xfrm>
          <a:prstGeom prst="rect">
            <a:avLst/>
          </a:prstGeom>
        </p:spPr>
      </p:pic>
      <p:sp>
        <p:nvSpPr>
          <p:cNvPr id="63" name="Tekstvak 50">
            <a:extLst>
              <a:ext uri="{FF2B5EF4-FFF2-40B4-BE49-F238E27FC236}">
                <a16:creationId xmlns:a16="http://schemas.microsoft.com/office/drawing/2014/main" id="{DAF33E4A-52C9-4C09-AA5F-E6E856D5CB5F}"/>
              </a:ext>
            </a:extLst>
          </p:cNvPr>
          <p:cNvSpPr txBox="1"/>
          <p:nvPr/>
        </p:nvSpPr>
        <p:spPr>
          <a:xfrm>
            <a:off x="1751260" y="4204907"/>
            <a:ext cx="155855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de unit test</a:t>
            </a:r>
          </a:p>
        </p:txBody>
      </p:sp>
    </p:spTree>
    <p:extLst>
      <p:ext uri="{BB962C8B-B14F-4D97-AF65-F5344CB8AC3E}">
        <p14:creationId xmlns:p14="http://schemas.microsoft.com/office/powerpoint/2010/main" val="189546997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AAF1A-1500-4C13-BC4B-807E391F72B2}"/>
              </a:ext>
            </a:extLst>
          </p:cNvPr>
          <p:cNvSpPr>
            <a:spLocks noGrp="1"/>
          </p:cNvSpPr>
          <p:nvPr>
            <p:ph type="title"/>
          </p:nvPr>
        </p:nvSpPr>
        <p:spPr>
          <a:xfrm>
            <a:off x="1760415" y="198559"/>
            <a:ext cx="9737578" cy="619444"/>
          </a:xfrm>
        </p:spPr>
        <p:txBody>
          <a:bodyPr/>
          <a:lstStyle/>
          <a:p>
            <a:r>
              <a:rPr lang="en-US"/>
              <a:t>Q&amp;A               /          Next steps</a:t>
            </a:r>
          </a:p>
        </p:txBody>
      </p:sp>
      <p:pic>
        <p:nvPicPr>
          <p:cNvPr id="3" name="Picture 2">
            <a:extLst>
              <a:ext uri="{FF2B5EF4-FFF2-40B4-BE49-F238E27FC236}">
                <a16:creationId xmlns:a16="http://schemas.microsoft.com/office/drawing/2014/main" id="{218DEC89-8BE4-4253-B632-24F6521416E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796" y="1045698"/>
            <a:ext cx="2438400" cy="2438400"/>
          </a:xfrm>
          <a:prstGeom prst="rect">
            <a:avLst/>
          </a:prstGeom>
        </p:spPr>
      </p:pic>
      <p:pic>
        <p:nvPicPr>
          <p:cNvPr id="4" name="Picture 3">
            <a:extLst>
              <a:ext uri="{FF2B5EF4-FFF2-40B4-BE49-F238E27FC236}">
                <a16:creationId xmlns:a16="http://schemas.microsoft.com/office/drawing/2014/main" id="{88A7CF8F-FE58-4EAF-B11A-9FDED5FD277A}"/>
              </a:ext>
            </a:extLst>
          </p:cNvPr>
          <p:cNvPicPr>
            <a:picLocks noChangeAspect="1"/>
          </p:cNvPicPr>
          <p:nvPr/>
        </p:nvPicPr>
        <p:blipFill>
          <a:blip r:embed="rId3"/>
          <a:stretch>
            <a:fillRect/>
          </a:stretch>
        </p:blipFill>
        <p:spPr>
          <a:xfrm>
            <a:off x="2532197" y="3484098"/>
            <a:ext cx="2378439" cy="2438400"/>
          </a:xfrm>
          <a:prstGeom prst="rect">
            <a:avLst/>
          </a:prstGeom>
        </p:spPr>
      </p:pic>
      <p:sp>
        <p:nvSpPr>
          <p:cNvPr id="5" name="TextBox 4">
            <a:extLst>
              <a:ext uri="{FF2B5EF4-FFF2-40B4-BE49-F238E27FC236}">
                <a16:creationId xmlns:a16="http://schemas.microsoft.com/office/drawing/2014/main" id="{F42903D1-09B4-435D-A714-B9FC613934AD}"/>
              </a:ext>
            </a:extLst>
          </p:cNvPr>
          <p:cNvSpPr txBox="1"/>
          <p:nvPr/>
        </p:nvSpPr>
        <p:spPr>
          <a:xfrm>
            <a:off x="10520046" y="6096000"/>
            <a:ext cx="166995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 Bill Watterson</a:t>
            </a:r>
          </a:p>
        </p:txBody>
      </p:sp>
      <p:pic>
        <p:nvPicPr>
          <p:cNvPr id="6" name="Picture 5">
            <a:extLst>
              <a:ext uri="{FF2B5EF4-FFF2-40B4-BE49-F238E27FC236}">
                <a16:creationId xmlns:a16="http://schemas.microsoft.com/office/drawing/2014/main" id="{D96223C4-FEF0-4FF7-8300-DDA076419888}"/>
              </a:ext>
            </a:extLst>
          </p:cNvPr>
          <p:cNvPicPr>
            <a:picLocks noChangeAspect="1"/>
          </p:cNvPicPr>
          <p:nvPr/>
        </p:nvPicPr>
        <p:blipFill>
          <a:blip r:embed="rId4"/>
          <a:stretch>
            <a:fillRect/>
          </a:stretch>
        </p:blipFill>
        <p:spPr>
          <a:xfrm>
            <a:off x="8284992" y="1571625"/>
            <a:ext cx="2552700" cy="3714750"/>
          </a:xfrm>
          <a:prstGeom prst="rect">
            <a:avLst/>
          </a:prstGeom>
        </p:spPr>
      </p:pic>
    </p:spTree>
    <p:extLst>
      <p:ext uri="{BB962C8B-B14F-4D97-AF65-F5344CB8AC3E}">
        <p14:creationId xmlns:p14="http://schemas.microsoft.com/office/powerpoint/2010/main" val="11560193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2" name="Picture 1">
            <a:extLst>
              <a:ext uri="{FF2B5EF4-FFF2-40B4-BE49-F238E27FC236}">
                <a16:creationId xmlns:a16="http://schemas.microsoft.com/office/drawing/2014/main" id="{2129FF6F-1648-46CE-AABB-292641642E0F}"/>
              </a:ext>
            </a:extLst>
          </p:cNvPr>
          <p:cNvPicPr>
            <a:picLocks noChangeAspect="1"/>
          </p:cNvPicPr>
          <p:nvPr/>
        </p:nvPicPr>
        <p:blipFill>
          <a:blip r:embed="rId3"/>
          <a:stretch>
            <a:fillRect/>
          </a:stretch>
        </p:blipFill>
        <p:spPr>
          <a:xfrm>
            <a:off x="2540740" y="3952"/>
            <a:ext cx="9252038" cy="6854048"/>
          </a:xfrm>
          <a:prstGeom prst="rect">
            <a:avLst/>
          </a:prstGeom>
        </p:spPr>
      </p:pic>
      <p:sp>
        <p:nvSpPr>
          <p:cNvPr id="5" name="Title 1">
            <a:extLst>
              <a:ext uri="{FF2B5EF4-FFF2-40B4-BE49-F238E27FC236}">
                <a16:creationId xmlns:a16="http://schemas.microsoft.com/office/drawing/2014/main" id="{FE40C09D-F0DB-46CE-A2CB-F3ABDF7DA2E8}"/>
              </a:ext>
            </a:extLst>
          </p:cNvPr>
          <p:cNvSpPr txBox="1">
            <a:spLocks/>
          </p:cNvSpPr>
          <p:nvPr/>
        </p:nvSpPr>
        <p:spPr>
          <a:xfrm>
            <a:off x="0" y="1310309"/>
            <a:ext cx="2117034" cy="5483087"/>
          </a:xfrm>
          <a:prstGeom prst="rect">
            <a:avLst/>
          </a:prstGeom>
        </p:spPr>
        <p:txBody>
          <a:bodyPr vert="horz" lIns="91440" tIns="45720" rIns="91440" bIns="45720" rtlCol="0" anchor="t" anchorCtr="0">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does not require sending data across the Legacy IaaS Network / Critical Data Zone barrier.  The Cloudera cluster would have to be given access to the Blob storage location where the IoT Hub lands the data.  The storage account could also be attached to the Cloudera Network, via a Service Endpoint. The IoT data would follow the data ingress pattern currently used for other data in the Cloudera  Cluster.</a:t>
            </a:r>
          </a:p>
        </p:txBody>
      </p:sp>
    </p:spTree>
    <p:extLst>
      <p:ext uri="{BB962C8B-B14F-4D97-AF65-F5344CB8AC3E}">
        <p14:creationId xmlns:p14="http://schemas.microsoft.com/office/powerpoint/2010/main" val="2461577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2" name="Picture 1">
            <a:extLst>
              <a:ext uri="{FF2B5EF4-FFF2-40B4-BE49-F238E27FC236}">
                <a16:creationId xmlns:a16="http://schemas.microsoft.com/office/drawing/2014/main" id="{B066B453-FC26-4C72-B823-AE1B70E0F8C0}"/>
              </a:ext>
            </a:extLst>
          </p:cNvPr>
          <p:cNvPicPr>
            <a:picLocks noChangeAspect="1"/>
          </p:cNvPicPr>
          <p:nvPr/>
        </p:nvPicPr>
        <p:blipFill>
          <a:blip r:embed="rId3"/>
          <a:stretch>
            <a:fillRect/>
          </a:stretch>
        </p:blipFill>
        <p:spPr>
          <a:xfrm>
            <a:off x="2476139" y="0"/>
            <a:ext cx="9242097" cy="6846684"/>
          </a:xfrm>
          <a:prstGeom prst="rect">
            <a:avLst/>
          </a:prstGeom>
        </p:spPr>
      </p:pic>
      <p:sp>
        <p:nvSpPr>
          <p:cNvPr id="5" name="Title 1">
            <a:extLst>
              <a:ext uri="{FF2B5EF4-FFF2-40B4-BE49-F238E27FC236}">
                <a16:creationId xmlns:a16="http://schemas.microsoft.com/office/drawing/2014/main" id="{A9B24ABF-1B4A-44EF-8AFF-BB85D73EABF3}"/>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builds on the previous one, just calling out various other PaaS services available to be able to shape, analyze, report over and </a:t>
            </a:r>
            <a:r>
              <a:rPr lang="en-US" sz="1800"/>
              <a:t>reason over the data.</a:t>
            </a:r>
            <a:endParaRPr lang="en-US" sz="1800" dirty="0"/>
          </a:p>
        </p:txBody>
      </p:sp>
    </p:spTree>
    <p:extLst>
      <p:ext uri="{BB962C8B-B14F-4D97-AF65-F5344CB8AC3E}">
        <p14:creationId xmlns:p14="http://schemas.microsoft.com/office/powerpoint/2010/main" val="2685257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A6768-C60C-4ACA-A57E-01378D5562EF}"/>
              </a:ext>
            </a:extLst>
          </p:cNvPr>
          <p:cNvSpPr>
            <a:spLocks noGrp="1"/>
          </p:cNvSpPr>
          <p:nvPr>
            <p:ph type="title"/>
          </p:nvPr>
        </p:nvSpPr>
        <p:spPr>
          <a:xfrm>
            <a:off x="838200" y="0"/>
            <a:ext cx="10515600" cy="564184"/>
          </a:xfrm>
        </p:spPr>
        <p:txBody>
          <a:bodyPr>
            <a:normAutofit fontScale="90000"/>
          </a:bodyPr>
          <a:lstStyle/>
          <a:p>
            <a:r>
              <a:rPr lang="en-US" dirty="0"/>
              <a:t>Objective</a:t>
            </a:r>
          </a:p>
        </p:txBody>
      </p:sp>
      <p:sp>
        <p:nvSpPr>
          <p:cNvPr id="3" name="Content Placeholder 2">
            <a:extLst>
              <a:ext uri="{FF2B5EF4-FFF2-40B4-BE49-F238E27FC236}">
                <a16:creationId xmlns:a16="http://schemas.microsoft.com/office/drawing/2014/main" id="{5E2FB856-35C8-480E-982D-D81440BCF5F9}"/>
              </a:ext>
            </a:extLst>
          </p:cNvPr>
          <p:cNvSpPr>
            <a:spLocks noGrp="1"/>
          </p:cNvSpPr>
          <p:nvPr>
            <p:ph idx="1"/>
          </p:nvPr>
        </p:nvSpPr>
        <p:spPr>
          <a:xfrm>
            <a:off x="838200" y="608082"/>
            <a:ext cx="10515600" cy="4351338"/>
          </a:xfrm>
        </p:spPr>
        <p:txBody>
          <a:bodyPr/>
          <a:lstStyle/>
          <a:p>
            <a:r>
              <a:rPr lang="en-US" sz="3200" dirty="0"/>
              <a:t>Equip each student with the Azure machine learning tools they can apply immediately</a:t>
            </a:r>
          </a:p>
          <a:p>
            <a:endParaRPr lang="en-US" dirty="0"/>
          </a:p>
          <a:p>
            <a:endParaRPr lang="en-US" dirty="0"/>
          </a:p>
          <a:p>
            <a:endParaRPr lang="en-US" dirty="0"/>
          </a:p>
          <a:p>
            <a:r>
              <a:rPr lang="en-US" dirty="0"/>
              <a:t>In the words of RW Murphy:</a:t>
            </a:r>
          </a:p>
          <a:p>
            <a:pPr lvl="1"/>
            <a:r>
              <a:rPr lang="en-US" dirty="0"/>
              <a:t>Slightly overwork the student who has average familiarity with the material</a:t>
            </a:r>
          </a:p>
          <a:p>
            <a:pPr lvl="1"/>
            <a:r>
              <a:rPr lang="en-US" dirty="0"/>
              <a:t>While not discouraging students who are brand new to the material</a:t>
            </a:r>
          </a:p>
          <a:p>
            <a:pPr lvl="1"/>
            <a:r>
              <a:rPr lang="en-US" dirty="0"/>
              <a:t>And still challenging the students who are more familiar with the material</a:t>
            </a:r>
          </a:p>
          <a:p>
            <a:pPr lvl="1"/>
            <a:endParaRPr lang="en-US" dirty="0"/>
          </a:p>
        </p:txBody>
      </p:sp>
    </p:spTree>
    <p:extLst>
      <p:ext uri="{BB962C8B-B14F-4D97-AF65-F5344CB8AC3E}">
        <p14:creationId xmlns:p14="http://schemas.microsoft.com/office/powerpoint/2010/main" val="596701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A6768-C60C-4ACA-A57E-01378D5562EF}"/>
              </a:ext>
            </a:extLst>
          </p:cNvPr>
          <p:cNvSpPr>
            <a:spLocks noGrp="1"/>
          </p:cNvSpPr>
          <p:nvPr>
            <p:ph type="title"/>
          </p:nvPr>
        </p:nvSpPr>
        <p:spPr>
          <a:xfrm>
            <a:off x="838200" y="0"/>
            <a:ext cx="10515600" cy="452387"/>
          </a:xfrm>
        </p:spPr>
        <p:txBody>
          <a:bodyPr>
            <a:noAutofit/>
          </a:bodyPr>
          <a:lstStyle/>
          <a:p>
            <a:r>
              <a:rPr lang="en-US" sz="3200" dirty="0"/>
              <a:t>Agenda</a:t>
            </a:r>
          </a:p>
        </p:txBody>
      </p:sp>
      <p:sp>
        <p:nvSpPr>
          <p:cNvPr id="3" name="Content Placeholder 2">
            <a:extLst>
              <a:ext uri="{FF2B5EF4-FFF2-40B4-BE49-F238E27FC236}">
                <a16:creationId xmlns:a16="http://schemas.microsoft.com/office/drawing/2014/main" id="{5E2FB856-35C8-480E-982D-D81440BCF5F9}"/>
              </a:ext>
            </a:extLst>
          </p:cNvPr>
          <p:cNvSpPr>
            <a:spLocks noGrp="1"/>
          </p:cNvSpPr>
          <p:nvPr>
            <p:ph idx="1"/>
          </p:nvPr>
        </p:nvSpPr>
        <p:spPr>
          <a:xfrm>
            <a:off x="838200" y="452387"/>
            <a:ext cx="10515600" cy="6405613"/>
          </a:xfrm>
        </p:spPr>
        <p:txBody>
          <a:bodyPr>
            <a:normAutofit fontScale="47500" lnSpcReduction="20000"/>
          </a:bodyPr>
          <a:lstStyle/>
          <a:p>
            <a:pPr marL="0" indent="0">
              <a:buNone/>
            </a:pPr>
            <a:r>
              <a:rPr lang="en-US" b="1" dirty="0"/>
              <a:t>Day 1</a:t>
            </a:r>
          </a:p>
          <a:p>
            <a:pPr lvl="0"/>
            <a:r>
              <a:rPr lang="en-US" dirty="0"/>
              <a:t>Setting up your Data Science VM to work as your portal into the Azure Machine Learning service and </a:t>
            </a:r>
            <a:r>
              <a:rPr lang="en-US" dirty="0" err="1"/>
              <a:t>MLOps</a:t>
            </a:r>
            <a:r>
              <a:rPr lang="en-US" dirty="0"/>
              <a:t> for data science</a:t>
            </a:r>
          </a:p>
          <a:p>
            <a:pPr lvl="0"/>
            <a:r>
              <a:rPr lang="en-US" dirty="0"/>
              <a:t>Azure Machine Learning service</a:t>
            </a:r>
          </a:p>
          <a:p>
            <a:pPr lvl="1"/>
            <a:r>
              <a:rPr lang="en-US" dirty="0"/>
              <a:t>Data prep</a:t>
            </a:r>
          </a:p>
          <a:p>
            <a:pPr lvl="1"/>
            <a:r>
              <a:rPr lang="en-US" dirty="0"/>
              <a:t>Model training</a:t>
            </a:r>
          </a:p>
          <a:p>
            <a:pPr lvl="1"/>
            <a:r>
              <a:rPr lang="en-US" dirty="0"/>
              <a:t>Model training on Azure ML service compute</a:t>
            </a:r>
          </a:p>
          <a:p>
            <a:pPr lvl="1"/>
            <a:r>
              <a:rPr lang="en-US" dirty="0"/>
              <a:t>Model operationalization – including deployment and monitoring</a:t>
            </a:r>
          </a:p>
          <a:p>
            <a:pPr lvl="0"/>
            <a:r>
              <a:rPr lang="en-US" dirty="0"/>
              <a:t>Azure Databricks</a:t>
            </a:r>
          </a:p>
          <a:p>
            <a:pPr lvl="1"/>
            <a:r>
              <a:rPr lang="en-US" dirty="0"/>
              <a:t>Workspace setup / cluster setup / Python ADB intro / RDD vs </a:t>
            </a:r>
            <a:r>
              <a:rPr lang="en-US" dirty="0" err="1"/>
              <a:t>Dataframe</a:t>
            </a:r>
            <a:r>
              <a:rPr lang="en-US" dirty="0"/>
              <a:t> vs Dataset</a:t>
            </a:r>
          </a:p>
          <a:p>
            <a:pPr lvl="1"/>
            <a:r>
              <a:rPr lang="en-US" dirty="0"/>
              <a:t>Data prep / Model training</a:t>
            </a:r>
          </a:p>
          <a:p>
            <a:pPr lvl="1"/>
            <a:r>
              <a:rPr lang="en-US" dirty="0"/>
              <a:t>Model operationalization</a:t>
            </a:r>
          </a:p>
          <a:p>
            <a:pPr lvl="1"/>
            <a:endParaRPr lang="en-US" dirty="0"/>
          </a:p>
          <a:p>
            <a:r>
              <a:rPr lang="en-US" dirty="0"/>
              <a:t>Homework assignment / recap / Q&amp;A</a:t>
            </a:r>
          </a:p>
          <a:p>
            <a:endParaRPr lang="en-US" dirty="0"/>
          </a:p>
          <a:p>
            <a:pPr marL="0" indent="0">
              <a:buNone/>
            </a:pPr>
            <a:r>
              <a:rPr lang="en-US" b="1" dirty="0"/>
              <a:t>Day 2</a:t>
            </a:r>
          </a:p>
          <a:p>
            <a:r>
              <a:rPr lang="en-US" dirty="0"/>
              <a:t>Azure Databricks continued – special guests Terry and Ron from Databricks, live via satellite from the DFC</a:t>
            </a:r>
          </a:p>
          <a:p>
            <a:pPr lvl="0"/>
            <a:endParaRPr lang="en-US" dirty="0"/>
          </a:p>
          <a:p>
            <a:pPr lvl="0"/>
            <a:r>
              <a:rPr lang="en-US" dirty="0"/>
              <a:t>Cognitive Services</a:t>
            </a:r>
          </a:p>
          <a:p>
            <a:pPr lvl="1"/>
            <a:r>
              <a:rPr lang="en-US" dirty="0"/>
              <a:t>Image classification</a:t>
            </a:r>
          </a:p>
          <a:p>
            <a:pPr lvl="1"/>
            <a:r>
              <a:rPr lang="en-US" dirty="0"/>
              <a:t>Handwriting recognition</a:t>
            </a:r>
          </a:p>
          <a:p>
            <a:pPr lvl="1"/>
            <a:endParaRPr lang="en-US" dirty="0"/>
          </a:p>
          <a:p>
            <a:pPr lvl="0"/>
            <a:r>
              <a:rPr lang="en-US" dirty="0"/>
              <a:t>Azure ML Studio</a:t>
            </a:r>
          </a:p>
          <a:p>
            <a:pPr lvl="1"/>
            <a:r>
              <a:rPr lang="en-US" dirty="0"/>
              <a:t>A quick introduction on the tool for the citizen data scientist</a:t>
            </a:r>
          </a:p>
          <a:p>
            <a:pPr lvl="1"/>
            <a:r>
              <a:rPr lang="en-US" dirty="0"/>
              <a:t>Model training</a:t>
            </a:r>
          </a:p>
          <a:p>
            <a:pPr lvl="1"/>
            <a:r>
              <a:rPr lang="en-US" dirty="0"/>
              <a:t>Model operationalization</a:t>
            </a:r>
          </a:p>
          <a:p>
            <a:pPr marL="0" indent="0">
              <a:buNone/>
            </a:pPr>
            <a:r>
              <a:rPr lang="en-US" dirty="0"/>
              <a:t> </a:t>
            </a:r>
          </a:p>
          <a:p>
            <a:pPr lvl="0"/>
            <a:r>
              <a:rPr lang="en-US" dirty="0"/>
              <a:t>More on the Team Data Science Process and </a:t>
            </a:r>
            <a:r>
              <a:rPr lang="en-US" dirty="0" err="1"/>
              <a:t>MLOps</a:t>
            </a:r>
            <a:r>
              <a:rPr lang="en-US" dirty="0"/>
              <a:t> </a:t>
            </a:r>
          </a:p>
          <a:p>
            <a:pPr lvl="0"/>
            <a:r>
              <a:rPr lang="en-US" dirty="0"/>
              <a:t>Wrap-up next steps</a:t>
            </a:r>
          </a:p>
          <a:p>
            <a:pPr marL="457200" lvl="1" indent="0">
              <a:buNone/>
            </a:pPr>
            <a:endParaRPr lang="en-US" dirty="0"/>
          </a:p>
        </p:txBody>
      </p:sp>
    </p:spTree>
    <p:extLst>
      <p:ext uri="{BB962C8B-B14F-4D97-AF65-F5344CB8AC3E}">
        <p14:creationId xmlns:p14="http://schemas.microsoft.com/office/powerpoint/2010/main" val="2723463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68956"/>
          </a:xfrm>
        </p:spPr>
        <p:txBody>
          <a:bodyPr>
            <a:normAutofit fontScale="90000"/>
          </a:bodyPr>
          <a:lstStyle/>
          <a:p>
            <a:r>
              <a:rPr lang="en-US" dirty="0"/>
              <a:t>Best practices</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726708"/>
            <a:ext cx="10515600" cy="6131292"/>
          </a:xfrm>
        </p:spPr>
        <p:txBody>
          <a:bodyPr>
            <a:normAutofit fontScale="85000" lnSpcReduction="20000"/>
          </a:bodyPr>
          <a:lstStyle/>
          <a:p>
            <a:r>
              <a:rPr lang="en-US" dirty="0"/>
              <a:t>Shut off your DSVM from the portal any time you’re not using it</a:t>
            </a:r>
          </a:p>
          <a:p>
            <a:r>
              <a:rPr lang="en-US" dirty="0"/>
              <a:t>Set up an auto-shutdown rule for the DSVM just in case</a:t>
            </a:r>
          </a:p>
          <a:p>
            <a:r>
              <a:rPr lang="en-US" dirty="0"/>
              <a:t>For the cautious:  before shutting down DSVM</a:t>
            </a:r>
          </a:p>
          <a:p>
            <a:pPr lvl="1"/>
            <a:r>
              <a:rPr lang="en-US" dirty="0"/>
              <a:t>Save all notebooks</a:t>
            </a:r>
          </a:p>
          <a:p>
            <a:pPr lvl="1"/>
            <a:r>
              <a:rPr lang="en-US" dirty="0"/>
              <a:t>Go to the running notebooks tab and shut down any running notebooks</a:t>
            </a:r>
          </a:p>
          <a:p>
            <a:pPr lvl="1"/>
            <a:r>
              <a:rPr lang="en-US" dirty="0"/>
              <a:t>Click into the command window that runs the notebooks and control-c</a:t>
            </a:r>
          </a:p>
          <a:p>
            <a:pPr lvl="1"/>
            <a:endParaRPr lang="en-US" dirty="0"/>
          </a:p>
          <a:p>
            <a:r>
              <a:rPr lang="en-US" dirty="0"/>
              <a:t>Be sure your AZ ML compute have min </a:t>
            </a:r>
            <a:r>
              <a:rPr lang="en-US" dirty="0" err="1"/>
              <a:t>cpu</a:t>
            </a:r>
            <a:r>
              <a:rPr lang="en-US" dirty="0"/>
              <a:t> = 0 (auto shutoff)</a:t>
            </a:r>
          </a:p>
          <a:p>
            <a:endParaRPr lang="en-US" dirty="0"/>
          </a:p>
          <a:p>
            <a:endParaRPr lang="en-US" dirty="0"/>
          </a:p>
          <a:p>
            <a:r>
              <a:rPr lang="en-US" dirty="0"/>
              <a:t>Be sure your Azure Databricks clusters have an auto shutdown time and use </a:t>
            </a:r>
            <a:r>
              <a:rPr lang="en-US" dirty="0" err="1"/>
              <a:t>autoscale</a:t>
            </a:r>
            <a:r>
              <a:rPr lang="en-US" dirty="0"/>
              <a:t> 1 worker min – n workers max </a:t>
            </a:r>
          </a:p>
          <a:p>
            <a:pPr lvl="1"/>
            <a:endParaRPr lang="en-US" dirty="0"/>
          </a:p>
          <a:p>
            <a:pPr lvl="1"/>
            <a:endParaRPr lang="en-US" dirty="0"/>
          </a:p>
          <a:p>
            <a:pPr lvl="1"/>
            <a:endParaRPr lang="en-US" dirty="0"/>
          </a:p>
          <a:p>
            <a:pPr marL="0" indent="0">
              <a:buNone/>
            </a:pPr>
            <a:r>
              <a:rPr lang="en-US" dirty="0"/>
              <a:t>This deck and other materials are available at:</a:t>
            </a:r>
          </a:p>
          <a:p>
            <a:pPr marL="0" indent="0">
              <a:buNone/>
            </a:pPr>
            <a:r>
              <a:rPr lang="en-US" dirty="0">
                <a:hlinkClick r:id="rId2"/>
              </a:rPr>
              <a:t>http://github.com/delbert/azml</a:t>
            </a:r>
            <a:r>
              <a:rPr lang="en-US" dirty="0"/>
              <a:t> </a:t>
            </a:r>
          </a:p>
        </p:txBody>
      </p:sp>
    </p:spTree>
    <p:extLst>
      <p:ext uri="{BB962C8B-B14F-4D97-AF65-F5344CB8AC3E}">
        <p14:creationId xmlns:p14="http://schemas.microsoft.com/office/powerpoint/2010/main" val="2694685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jt.GJKZ0gEK3IGHKgaod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L5gH9kVU0kuHdBfCqVWh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12</TotalTime>
  <Words>2518</Words>
  <Application>Microsoft Office PowerPoint</Application>
  <PresentationFormat>Widescreen</PresentationFormat>
  <Paragraphs>435</Paragraphs>
  <Slides>41</Slides>
  <Notes>1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2" baseType="lpstr">
      <vt:lpstr>Arial</vt:lpstr>
      <vt:lpstr>Calibri</vt:lpstr>
      <vt:lpstr>Calibri Light</vt:lpstr>
      <vt:lpstr>Segoe UI</vt:lpstr>
      <vt:lpstr>Segoe UI Light</vt:lpstr>
      <vt:lpstr>Segoe UI Semibold</vt:lpstr>
      <vt:lpstr>Segoe UI Semilight</vt:lpstr>
      <vt:lpstr>Wingdings</vt:lpstr>
      <vt:lpstr>Office Theme</vt:lpstr>
      <vt:lpstr>5-50111_Build 2017_LIGHT GRAY TEMPLATE</vt:lpstr>
      <vt:lpstr>think-cell Slide</vt:lpstr>
      <vt:lpstr>Machine Learning in Azure </vt:lpstr>
      <vt:lpstr>PowerPoint Presentation</vt:lpstr>
      <vt:lpstr>PowerPoint Presentation</vt:lpstr>
      <vt:lpstr>PowerPoint Presentation</vt:lpstr>
      <vt:lpstr>PowerPoint Presentation</vt:lpstr>
      <vt:lpstr>PowerPoint Presentation</vt:lpstr>
      <vt:lpstr>Objective</vt:lpstr>
      <vt:lpstr>Agenda</vt:lpstr>
      <vt:lpstr>Best practices</vt:lpstr>
      <vt:lpstr>Setting up Azure Machine Learning service</vt:lpstr>
      <vt:lpstr>Setting up Azure ML - DSVM / Linux</vt:lpstr>
      <vt:lpstr>Setting up Azure ML - DSVM / Windows 2016</vt:lpstr>
      <vt:lpstr>Azure ML exercises</vt:lpstr>
      <vt:lpstr>How AutoML works</vt:lpstr>
      <vt:lpstr>Fixes</vt:lpstr>
      <vt:lpstr>Azure ML challenges</vt:lpstr>
      <vt:lpstr>Azure ML exercises</vt:lpstr>
      <vt:lpstr>Azure ML challenges</vt:lpstr>
      <vt:lpstr>How the Azure ML service works</vt:lpstr>
      <vt:lpstr>Setting up Azure Databricks</vt:lpstr>
      <vt:lpstr>Azure Databricks exercises</vt:lpstr>
      <vt:lpstr>Azure Databricks exercises</vt:lpstr>
      <vt:lpstr>Azure Databricks exercises</vt:lpstr>
      <vt:lpstr>Azure Databricks challenges</vt:lpstr>
      <vt:lpstr>Other Azure Databricks topics</vt:lpstr>
      <vt:lpstr>Cognitive Services / Knowledge Mining</vt:lpstr>
      <vt:lpstr>Cognitive Services capabilities Infuse your apps, websites, bots, and machine learning pipelines with human-like intelligence </vt:lpstr>
      <vt:lpstr>PowerPoint Presentation</vt:lpstr>
      <vt:lpstr>Knowledge mining with Azure Search</vt:lpstr>
      <vt:lpstr>Knowledge mining Demo</vt:lpstr>
      <vt:lpstr>Cognitive Services API exercises</vt:lpstr>
      <vt:lpstr>Cognitive Services API exercises</vt:lpstr>
      <vt:lpstr>Cognitive Services challenges</vt:lpstr>
      <vt:lpstr>Azure Machine Learning Studio Exercises</vt:lpstr>
      <vt:lpstr>Data science is a team sport</vt:lpstr>
      <vt:lpstr>AI DevOps lifecycle</vt:lpstr>
      <vt:lpstr>Key Goals of DevOps for AI</vt:lpstr>
      <vt:lpstr>DevOps Framework for Azure AI Solutions</vt:lpstr>
      <vt:lpstr>PowerPoint Presentation</vt:lpstr>
      <vt:lpstr>Integrated Pipeline for Data Scientists and Software Engineers</vt:lpstr>
      <vt:lpstr>Q&amp;A               /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chine Learning in Azure </dc:title>
  <dc:creator>Delbert Murphy</dc:creator>
  <cp:lastModifiedBy>Delbert Murphy</cp:lastModifiedBy>
  <cp:revision>1</cp:revision>
  <dcterms:created xsi:type="dcterms:W3CDTF">2019-02-22T14:54:57Z</dcterms:created>
  <dcterms:modified xsi:type="dcterms:W3CDTF">2019-03-11T18:5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lbertm@microsoft.com</vt:lpwstr>
  </property>
  <property fmtid="{D5CDD505-2E9C-101B-9397-08002B2CF9AE}" pid="5" name="MSIP_Label_f42aa342-8706-4288-bd11-ebb85995028c_SetDate">
    <vt:lpwstr>2019-02-26T21:51:15.155821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404418c-8fe8-4a3c-888f-6c285341a04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